
<file path=[Content_Types].xml><?xml version="1.0" encoding="utf-8"?>
<Types xmlns="http://schemas.openxmlformats.org/package/2006/content-types">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7.xml" ContentType="application/vnd.openxmlformats-officedocument.presentationml.tags+xml"/>
  <Override PartName="/ppt/tags/tag2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9.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0.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66" r:id="rId4"/>
    <p:sldMasterId id="2147483996" r:id="rId5"/>
  </p:sldMasterIdLst>
  <p:notesMasterIdLst>
    <p:notesMasterId r:id="rId53"/>
  </p:notesMasterIdLst>
  <p:handoutMasterIdLst>
    <p:handoutMasterId r:id="rId54"/>
  </p:handoutMasterIdLst>
  <p:sldIdLst>
    <p:sldId id="947" r:id="rId6"/>
    <p:sldId id="980" r:id="rId7"/>
    <p:sldId id="1020" r:id="rId8"/>
    <p:sldId id="1031" r:id="rId9"/>
    <p:sldId id="1032" r:id="rId10"/>
    <p:sldId id="1021" r:id="rId11"/>
    <p:sldId id="1067" r:id="rId12"/>
    <p:sldId id="1022" r:id="rId13"/>
    <p:sldId id="1023" r:id="rId14"/>
    <p:sldId id="1024" r:id="rId15"/>
    <p:sldId id="1025" r:id="rId16"/>
    <p:sldId id="1034" r:id="rId17"/>
    <p:sldId id="1030" r:id="rId18"/>
    <p:sldId id="1046" r:id="rId19"/>
    <p:sldId id="1026" r:id="rId20"/>
    <p:sldId id="1029" r:id="rId21"/>
    <p:sldId id="1092" r:id="rId22"/>
    <p:sldId id="1093" r:id="rId23"/>
    <p:sldId id="1028" r:id="rId24"/>
    <p:sldId id="1095" r:id="rId25"/>
    <p:sldId id="1096" r:id="rId26"/>
    <p:sldId id="1097" r:id="rId27"/>
    <p:sldId id="1099" r:id="rId28"/>
    <p:sldId id="1100" r:id="rId29"/>
    <p:sldId id="1101" r:id="rId30"/>
    <p:sldId id="1102" r:id="rId31"/>
    <p:sldId id="1104" r:id="rId32"/>
    <p:sldId id="1103" r:id="rId33"/>
    <p:sldId id="1105" r:id="rId34"/>
    <p:sldId id="1106" r:id="rId35"/>
    <p:sldId id="1107" r:id="rId36"/>
    <p:sldId id="1098" r:id="rId37"/>
    <p:sldId id="1108" r:id="rId38"/>
    <p:sldId id="1109" r:id="rId39"/>
    <p:sldId id="1110" r:id="rId40"/>
    <p:sldId id="1111" r:id="rId41"/>
    <p:sldId id="1112" r:id="rId42"/>
    <p:sldId id="1114" r:id="rId43"/>
    <p:sldId id="1122" r:id="rId44"/>
    <p:sldId id="1115" r:id="rId45"/>
    <p:sldId id="1116" r:id="rId46"/>
    <p:sldId id="1117" r:id="rId47"/>
    <p:sldId id="1118" r:id="rId48"/>
    <p:sldId id="1119" r:id="rId49"/>
    <p:sldId id="1120" r:id="rId50"/>
    <p:sldId id="1121" r:id="rId51"/>
    <p:sldId id="1094" r:id="rId5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F6159BF-4D4A-47D0-B928-1C00FF1FD6D3}">
          <p14:sldIdLst>
            <p14:sldId id="947"/>
          </p14:sldIdLst>
        </p14:section>
        <p14:section name="1 - WELCOME &amp; INTRODUCTION" id="{06A8EA87-633F-49E1-AAC6-303E535761CA}">
          <p14:sldIdLst>
            <p14:sldId id="980"/>
            <p14:sldId id="1020"/>
            <p14:sldId id="1031"/>
            <p14:sldId id="1032"/>
            <p14:sldId id="1021"/>
            <p14:sldId id="1067"/>
            <p14:sldId id="1022"/>
            <p14:sldId id="1023"/>
          </p14:sldIdLst>
        </p14:section>
        <p14:section name="2 - ABOUT FOOD WASTE" id="{9BB0023A-A806-4E66-9EF2-7F88E6CFC6D2}">
          <p14:sldIdLst>
            <p14:sldId id="1024"/>
            <p14:sldId id="1025"/>
            <p14:sldId id="1034"/>
            <p14:sldId id="1030"/>
            <p14:sldId id="1046"/>
            <p14:sldId id="1026"/>
            <p14:sldId id="1029"/>
            <p14:sldId id="1092"/>
            <p14:sldId id="1093"/>
            <p14:sldId id="1028"/>
            <p14:sldId id="1095"/>
            <p14:sldId id="1096"/>
            <p14:sldId id="1097"/>
            <p14:sldId id="1099"/>
            <p14:sldId id="1100"/>
            <p14:sldId id="1101"/>
            <p14:sldId id="1102"/>
            <p14:sldId id="1104"/>
            <p14:sldId id="1103"/>
            <p14:sldId id="1105"/>
            <p14:sldId id="1106"/>
            <p14:sldId id="1107"/>
            <p14:sldId id="1098"/>
            <p14:sldId id="1108"/>
            <p14:sldId id="1109"/>
            <p14:sldId id="1110"/>
            <p14:sldId id="1111"/>
            <p14:sldId id="1112"/>
            <p14:sldId id="1114"/>
            <p14:sldId id="1122"/>
            <p14:sldId id="1115"/>
            <p14:sldId id="1116"/>
            <p14:sldId id="1117"/>
            <p14:sldId id="1118"/>
            <p14:sldId id="1119"/>
            <p14:sldId id="1120"/>
            <p14:sldId id="1121"/>
            <p14:sldId id="109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B54A"/>
    <a:srgbClr val="FAA61A"/>
    <a:srgbClr val="CDAE36"/>
    <a:srgbClr val="9E2B1F"/>
    <a:srgbClr val="996633"/>
    <a:srgbClr val="007F92"/>
    <a:srgbClr val="6F6F6F"/>
    <a:srgbClr val="00A0C6"/>
    <a:srgbClr val="E42313"/>
    <a:srgbClr val="EBE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67" autoAdjust="0"/>
    <p:restoredTop sz="92347" autoAdjust="0"/>
  </p:normalViewPr>
  <p:slideViewPr>
    <p:cSldViewPr snapToGrid="0">
      <p:cViewPr varScale="1">
        <p:scale>
          <a:sx n="102" d="100"/>
          <a:sy n="102" d="100"/>
        </p:scale>
        <p:origin x="348" y="108"/>
      </p:cViewPr>
      <p:guideLst/>
    </p:cSldViewPr>
  </p:slideViewPr>
  <p:notesTextViewPr>
    <p:cViewPr>
      <p:scale>
        <a:sx n="1" d="1"/>
        <a:sy n="1" d="1"/>
      </p:scale>
      <p:origin x="0" y="0"/>
    </p:cViewPr>
  </p:notesTextViewPr>
  <p:sorterViewPr>
    <p:cViewPr>
      <p:scale>
        <a:sx n="130" d="100"/>
        <a:sy n="130" d="100"/>
      </p:scale>
      <p:origin x="0" y="-742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umennasan Dolgor" userId="86012723-67f3-4347-b8d7-b24e64cdabb0" providerId="ADAL" clId="{9795F37B-3045-45EF-80CB-B31145E9B42C}"/>
    <pc:docChg chg="custSel modSld">
      <pc:chgData name="Tumennasan Dolgor" userId="86012723-67f3-4347-b8d7-b24e64cdabb0" providerId="ADAL" clId="{9795F37B-3045-45EF-80CB-B31145E9B42C}" dt="2022-10-28T07:35:36.756" v="336" actId="20577"/>
      <pc:docMkLst>
        <pc:docMk/>
      </pc:docMkLst>
      <pc:sldChg chg="modSp mod">
        <pc:chgData name="Tumennasan Dolgor" userId="86012723-67f3-4347-b8d7-b24e64cdabb0" providerId="ADAL" clId="{9795F37B-3045-45EF-80CB-B31145E9B42C}" dt="2022-10-28T07:19:12.055" v="201" actId="20577"/>
        <pc:sldMkLst>
          <pc:docMk/>
          <pc:sldMk cId="534473060" sldId="1093"/>
        </pc:sldMkLst>
        <pc:spChg chg="mod">
          <ac:chgData name="Tumennasan Dolgor" userId="86012723-67f3-4347-b8d7-b24e64cdabb0" providerId="ADAL" clId="{9795F37B-3045-45EF-80CB-B31145E9B42C}" dt="2022-10-28T07:19:12.055" v="201" actId="20577"/>
          <ac:spMkLst>
            <pc:docMk/>
            <pc:sldMk cId="534473060" sldId="1093"/>
            <ac:spMk id="3" creationId="{03C44B8B-F2F5-C26D-CB1C-320242B3D417}"/>
          </ac:spMkLst>
        </pc:spChg>
      </pc:sldChg>
      <pc:sldChg chg="modSp mod">
        <pc:chgData name="Tumennasan Dolgor" userId="86012723-67f3-4347-b8d7-b24e64cdabb0" providerId="ADAL" clId="{9795F37B-3045-45EF-80CB-B31145E9B42C}" dt="2022-10-28T07:18:16.711" v="175" actId="1076"/>
        <pc:sldMkLst>
          <pc:docMk/>
          <pc:sldMk cId="377314619" sldId="1098"/>
        </pc:sldMkLst>
        <pc:spChg chg="mod">
          <ac:chgData name="Tumennasan Dolgor" userId="86012723-67f3-4347-b8d7-b24e64cdabb0" providerId="ADAL" clId="{9795F37B-3045-45EF-80CB-B31145E9B42C}" dt="2022-10-28T07:17:47.101" v="160" actId="20577"/>
          <ac:spMkLst>
            <pc:docMk/>
            <pc:sldMk cId="377314619" sldId="1098"/>
            <ac:spMk id="7" creationId="{B61022BF-2548-93BF-766A-EC8A04C0A010}"/>
          </ac:spMkLst>
        </pc:spChg>
        <pc:spChg chg="mod">
          <ac:chgData name="Tumennasan Dolgor" userId="86012723-67f3-4347-b8d7-b24e64cdabb0" providerId="ADAL" clId="{9795F37B-3045-45EF-80CB-B31145E9B42C}" dt="2022-10-28T07:18:16.711" v="175" actId="1076"/>
          <ac:spMkLst>
            <pc:docMk/>
            <pc:sldMk cId="377314619" sldId="1098"/>
            <ac:spMk id="9" creationId="{AEECF3CC-D71E-15AC-9431-8DC5AE2AEA9C}"/>
          </ac:spMkLst>
        </pc:spChg>
        <pc:picChg chg="mod">
          <ac:chgData name="Tumennasan Dolgor" userId="86012723-67f3-4347-b8d7-b24e64cdabb0" providerId="ADAL" clId="{9795F37B-3045-45EF-80CB-B31145E9B42C}" dt="2022-10-28T07:18:10.731" v="173" actId="1076"/>
          <ac:picMkLst>
            <pc:docMk/>
            <pc:sldMk cId="377314619" sldId="1098"/>
            <ac:picMk id="12" creationId="{804D9DBF-C34E-419B-9A75-4E586CC2ADFE}"/>
          </ac:picMkLst>
        </pc:picChg>
      </pc:sldChg>
      <pc:sldChg chg="modSp mod">
        <pc:chgData name="Tumennasan Dolgor" userId="86012723-67f3-4347-b8d7-b24e64cdabb0" providerId="ADAL" clId="{9795F37B-3045-45EF-80CB-B31145E9B42C}" dt="2022-10-28T07:19:57.064" v="266" actId="1076"/>
        <pc:sldMkLst>
          <pc:docMk/>
          <pc:sldMk cId="230972842" sldId="1108"/>
        </pc:sldMkLst>
        <pc:spChg chg="mod">
          <ac:chgData name="Tumennasan Dolgor" userId="86012723-67f3-4347-b8d7-b24e64cdabb0" providerId="ADAL" clId="{9795F37B-3045-45EF-80CB-B31145E9B42C}" dt="2022-10-28T07:19:57.064" v="266" actId="1076"/>
          <ac:spMkLst>
            <pc:docMk/>
            <pc:sldMk cId="230972842" sldId="1108"/>
            <ac:spMk id="14" creationId="{9D647367-44A2-AFE7-5C7C-89B99AACBE64}"/>
          </ac:spMkLst>
        </pc:spChg>
        <pc:grpChg chg="mod">
          <ac:chgData name="Tumennasan Dolgor" userId="86012723-67f3-4347-b8d7-b24e64cdabb0" providerId="ADAL" clId="{9795F37B-3045-45EF-80CB-B31145E9B42C}" dt="2022-10-28T07:19:54.233" v="265" actId="1076"/>
          <ac:grpSpMkLst>
            <pc:docMk/>
            <pc:sldMk cId="230972842" sldId="1108"/>
            <ac:grpSpMk id="13" creationId="{06B47BC6-76CF-99AA-EEEE-F045561B8C24}"/>
          </ac:grpSpMkLst>
        </pc:grpChg>
      </pc:sldChg>
      <pc:sldChg chg="modSp mod">
        <pc:chgData name="Tumennasan Dolgor" userId="86012723-67f3-4347-b8d7-b24e64cdabb0" providerId="ADAL" clId="{9795F37B-3045-45EF-80CB-B31145E9B42C}" dt="2022-10-28T07:21:33.701" v="304" actId="1076"/>
        <pc:sldMkLst>
          <pc:docMk/>
          <pc:sldMk cId="233484345" sldId="1109"/>
        </pc:sldMkLst>
        <pc:spChg chg="mod">
          <ac:chgData name="Tumennasan Dolgor" userId="86012723-67f3-4347-b8d7-b24e64cdabb0" providerId="ADAL" clId="{9795F37B-3045-45EF-80CB-B31145E9B42C}" dt="2022-10-28T07:21:19.376" v="299" actId="6549"/>
          <ac:spMkLst>
            <pc:docMk/>
            <pc:sldMk cId="233484345" sldId="1109"/>
            <ac:spMk id="9" creationId="{F044BD8F-06D5-1B3D-5ECE-074CF9470F48}"/>
          </ac:spMkLst>
        </pc:spChg>
        <pc:spChg chg="mod">
          <ac:chgData name="Tumennasan Dolgor" userId="86012723-67f3-4347-b8d7-b24e64cdabb0" providerId="ADAL" clId="{9795F37B-3045-45EF-80CB-B31145E9B42C}" dt="2022-10-28T07:21:33.701" v="304" actId="1076"/>
          <ac:spMkLst>
            <pc:docMk/>
            <pc:sldMk cId="233484345" sldId="1109"/>
            <ac:spMk id="11" creationId="{01DC4E58-B225-4414-B3A8-321B8B1106FB}"/>
          </ac:spMkLst>
        </pc:spChg>
        <pc:spChg chg="mod">
          <ac:chgData name="Tumennasan Dolgor" userId="86012723-67f3-4347-b8d7-b24e64cdabb0" providerId="ADAL" clId="{9795F37B-3045-45EF-80CB-B31145E9B42C}" dt="2022-10-28T07:21:26.457" v="302" actId="1076"/>
          <ac:spMkLst>
            <pc:docMk/>
            <pc:sldMk cId="233484345" sldId="1109"/>
            <ac:spMk id="12" creationId="{C92B2F7C-FA6E-2766-C762-7857C6E914BB}"/>
          </ac:spMkLst>
        </pc:spChg>
        <pc:spChg chg="mod">
          <ac:chgData name="Tumennasan Dolgor" userId="86012723-67f3-4347-b8d7-b24e64cdabb0" providerId="ADAL" clId="{9795F37B-3045-45EF-80CB-B31145E9B42C}" dt="2022-10-28T07:21:30.127" v="303" actId="1076"/>
          <ac:spMkLst>
            <pc:docMk/>
            <pc:sldMk cId="233484345" sldId="1109"/>
            <ac:spMk id="13" creationId="{393B26EA-421E-254C-F404-7F90DBE76525}"/>
          </ac:spMkLst>
        </pc:spChg>
        <pc:picChg chg="mod">
          <ac:chgData name="Tumennasan Dolgor" userId="86012723-67f3-4347-b8d7-b24e64cdabb0" providerId="ADAL" clId="{9795F37B-3045-45EF-80CB-B31145E9B42C}" dt="2022-10-28T07:21:21.529" v="300" actId="1076"/>
          <ac:picMkLst>
            <pc:docMk/>
            <pc:sldMk cId="233484345" sldId="1109"/>
            <ac:picMk id="8" creationId="{CA2F7CDC-4FFD-E179-16C7-2DDB7CA333D1}"/>
          </ac:picMkLst>
        </pc:picChg>
      </pc:sldChg>
      <pc:sldChg chg="modSp mod">
        <pc:chgData name="Tumennasan Dolgor" userId="86012723-67f3-4347-b8d7-b24e64cdabb0" providerId="ADAL" clId="{9795F37B-3045-45EF-80CB-B31145E9B42C}" dt="2022-10-28T07:22:48.427" v="308" actId="14100"/>
        <pc:sldMkLst>
          <pc:docMk/>
          <pc:sldMk cId="1553966576" sldId="1110"/>
        </pc:sldMkLst>
        <pc:spChg chg="mod">
          <ac:chgData name="Tumennasan Dolgor" userId="86012723-67f3-4347-b8d7-b24e64cdabb0" providerId="ADAL" clId="{9795F37B-3045-45EF-80CB-B31145E9B42C}" dt="2022-10-28T07:22:48.427" v="308" actId="14100"/>
          <ac:spMkLst>
            <pc:docMk/>
            <pc:sldMk cId="1553966576" sldId="1110"/>
            <ac:spMk id="2" creationId="{03058F4C-8710-59B1-F069-2D1A252F0A66}"/>
          </ac:spMkLst>
        </pc:spChg>
        <pc:spChg chg="mod">
          <ac:chgData name="Tumennasan Dolgor" userId="86012723-67f3-4347-b8d7-b24e64cdabb0" providerId="ADAL" clId="{9795F37B-3045-45EF-80CB-B31145E9B42C}" dt="2022-10-28T07:22:31.067" v="306" actId="1076"/>
          <ac:spMkLst>
            <pc:docMk/>
            <pc:sldMk cId="1553966576" sldId="1110"/>
            <ac:spMk id="12" creationId="{EECAC881-C2C2-3862-60ED-EA9B1AFEEBEF}"/>
          </ac:spMkLst>
        </pc:spChg>
        <pc:picChg chg="mod">
          <ac:chgData name="Tumennasan Dolgor" userId="86012723-67f3-4347-b8d7-b24e64cdabb0" providerId="ADAL" clId="{9795F37B-3045-45EF-80CB-B31145E9B42C}" dt="2022-10-28T07:22:28.651" v="305" actId="1076"/>
          <ac:picMkLst>
            <pc:docMk/>
            <pc:sldMk cId="1553966576" sldId="1110"/>
            <ac:picMk id="6" creationId="{29FDC716-9DBF-4EE5-A506-47AC7D9AF5D7}"/>
          </ac:picMkLst>
        </pc:picChg>
      </pc:sldChg>
      <pc:sldChg chg="modSp mod">
        <pc:chgData name="Tumennasan Dolgor" userId="86012723-67f3-4347-b8d7-b24e64cdabb0" providerId="ADAL" clId="{9795F37B-3045-45EF-80CB-B31145E9B42C}" dt="2022-10-28T07:35:36.756" v="336" actId="20577"/>
        <pc:sldMkLst>
          <pc:docMk/>
          <pc:sldMk cId="222441872" sldId="1122"/>
        </pc:sldMkLst>
        <pc:spChg chg="mod">
          <ac:chgData name="Tumennasan Dolgor" userId="86012723-67f3-4347-b8d7-b24e64cdabb0" providerId="ADAL" clId="{9795F37B-3045-45EF-80CB-B31145E9B42C}" dt="2022-10-28T07:35:36.756" v="336" actId="20577"/>
          <ac:spMkLst>
            <pc:docMk/>
            <pc:sldMk cId="222441872" sldId="1122"/>
            <ac:spMk id="21" creationId="{E5685709-8B9B-6EB6-CF45-C1108663BB48}"/>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eg"/><Relationship Id="rId1" Type="http://schemas.openxmlformats.org/officeDocument/2006/relationships/image" Target="../media/image31.jpeg"/><Relationship Id="rId4" Type="http://schemas.openxmlformats.org/officeDocument/2006/relationships/image" Target="../media/image34.jpeg"/></Relationships>
</file>

<file path=ppt/diagrams/_rels/data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image" Target="../media/image52.jpeg"/><Relationship Id="rId4" Type="http://schemas.openxmlformats.org/officeDocument/2006/relationships/image" Target="../media/image55.jpeg"/></Relationships>
</file>

<file path=ppt/diagrams/_rels/data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image" Target="../media/image102.png"/><Relationship Id="rId5" Type="http://schemas.openxmlformats.org/officeDocument/2006/relationships/image" Target="../media/image106.png"/><Relationship Id="rId4" Type="http://schemas.openxmlformats.org/officeDocument/2006/relationships/image" Target="../media/image105.png"/></Relationships>
</file>

<file path=ppt/diagrams/_rels/drawing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eg"/><Relationship Id="rId1" Type="http://schemas.openxmlformats.org/officeDocument/2006/relationships/image" Target="../media/image31.jpeg"/><Relationship Id="rId4" Type="http://schemas.openxmlformats.org/officeDocument/2006/relationships/image" Target="../media/image34.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image" Target="../media/image52.jpeg"/><Relationship Id="rId4" Type="http://schemas.openxmlformats.org/officeDocument/2006/relationships/image" Target="../media/image55.jpeg"/></Relationships>
</file>

<file path=ppt/diagrams/_rels/drawing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image" Target="../media/image102.png"/><Relationship Id="rId5" Type="http://schemas.openxmlformats.org/officeDocument/2006/relationships/image" Target="../media/image106.png"/><Relationship Id="rId4" Type="http://schemas.openxmlformats.org/officeDocument/2006/relationships/image" Target="../media/image10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F0E186-5147-4AD0-B919-52FFDC9EC973}" type="doc">
      <dgm:prSet loTypeId="urn:microsoft.com/office/officeart/2008/layout/BendingPictureBlocks" loCatId="picture" qsTypeId="urn:microsoft.com/office/officeart/2005/8/quickstyle/simple1" qsCatId="simple" csTypeId="urn:microsoft.com/office/officeart/2005/8/colors/accent1_2" csCatId="accent1" phldr="1"/>
      <dgm:spPr/>
      <dgm:t>
        <a:bodyPr/>
        <a:lstStyle/>
        <a:p>
          <a:endParaRPr lang="en-GB"/>
        </a:p>
      </dgm:t>
    </dgm:pt>
    <dgm:pt modelId="{DD1421FB-6EAF-43BC-B191-64E7BDF28808}">
      <dgm:prSet phldrT="[Text]" custT="1"/>
      <dgm:spPr>
        <a:solidFill>
          <a:schemeClr val="accent5">
            <a:lumMod val="25000"/>
          </a:schemeClr>
        </a:solidFill>
      </dgm:spPr>
      <dgm:t>
        <a:bodyPr/>
        <a:lstStyle/>
        <a:p>
          <a:r>
            <a:rPr lang="mn-MN" sz="2000" dirty="0">
              <a:solidFill>
                <a:schemeClr val="bg1"/>
              </a:solidFill>
            </a:rPr>
            <a:t>Жэйн Гилберт</a:t>
          </a:r>
          <a:endParaRPr lang="en-GB" sz="2000" dirty="0">
            <a:solidFill>
              <a:schemeClr val="bg1"/>
            </a:solidFill>
          </a:endParaRPr>
        </a:p>
      </dgm:t>
    </dgm:pt>
    <dgm:pt modelId="{334EFDEB-8776-40A4-BE36-80DAA90D4CB9}" type="parTrans" cxnId="{500A0A37-7D4D-40AC-AD77-E4EF6C448E8D}">
      <dgm:prSet/>
      <dgm:spPr/>
      <dgm:t>
        <a:bodyPr/>
        <a:lstStyle/>
        <a:p>
          <a:endParaRPr lang="en-GB">
            <a:solidFill>
              <a:schemeClr val="bg1"/>
            </a:solidFill>
          </a:endParaRPr>
        </a:p>
      </dgm:t>
    </dgm:pt>
    <dgm:pt modelId="{E266F272-FE85-4DBB-BB77-239A78975F9B}" type="sibTrans" cxnId="{500A0A37-7D4D-40AC-AD77-E4EF6C448E8D}">
      <dgm:prSet/>
      <dgm:spPr/>
      <dgm:t>
        <a:bodyPr/>
        <a:lstStyle/>
        <a:p>
          <a:endParaRPr lang="en-GB">
            <a:solidFill>
              <a:schemeClr val="bg1"/>
            </a:solidFill>
          </a:endParaRPr>
        </a:p>
      </dgm:t>
    </dgm:pt>
    <dgm:pt modelId="{999176E7-ECE1-4267-A0F0-C202E026A7B8}">
      <dgm:prSet phldrT="[Text]" custT="1"/>
      <dgm:spPr>
        <a:solidFill>
          <a:schemeClr val="accent5">
            <a:lumMod val="25000"/>
          </a:schemeClr>
        </a:solidFill>
      </dgm:spPr>
      <dgm:t>
        <a:bodyPr/>
        <a:lstStyle/>
        <a:p>
          <a:r>
            <a:rPr lang="mn-MN" sz="1800" dirty="0">
              <a:solidFill>
                <a:schemeClr val="bg1"/>
              </a:solidFill>
            </a:rPr>
            <a:t>Б.Дэлгэрбаяр</a:t>
          </a:r>
          <a:endParaRPr lang="en-GB" sz="1800" dirty="0">
            <a:solidFill>
              <a:schemeClr val="bg1"/>
            </a:solidFill>
          </a:endParaRPr>
        </a:p>
      </dgm:t>
    </dgm:pt>
    <dgm:pt modelId="{A0A8E240-92FE-49AE-AE7E-1F8744443E85}" type="parTrans" cxnId="{830CDD82-ADD3-459F-8061-AE5C040D6E7B}">
      <dgm:prSet/>
      <dgm:spPr/>
      <dgm:t>
        <a:bodyPr/>
        <a:lstStyle/>
        <a:p>
          <a:endParaRPr lang="en-GB">
            <a:solidFill>
              <a:schemeClr val="bg1"/>
            </a:solidFill>
          </a:endParaRPr>
        </a:p>
      </dgm:t>
    </dgm:pt>
    <dgm:pt modelId="{9CAAEF35-7669-4307-A0F4-BD4CDFBE7228}" type="sibTrans" cxnId="{830CDD82-ADD3-459F-8061-AE5C040D6E7B}">
      <dgm:prSet/>
      <dgm:spPr/>
      <dgm:t>
        <a:bodyPr/>
        <a:lstStyle/>
        <a:p>
          <a:endParaRPr lang="en-GB">
            <a:solidFill>
              <a:schemeClr val="bg1"/>
            </a:solidFill>
          </a:endParaRPr>
        </a:p>
      </dgm:t>
    </dgm:pt>
    <dgm:pt modelId="{3CC50A50-E93F-4F6F-8217-4D5D4BDF0A08}">
      <dgm:prSet phldrT="[Text]" custT="1"/>
      <dgm:spPr>
        <a:solidFill>
          <a:schemeClr val="accent5">
            <a:lumMod val="25000"/>
          </a:schemeClr>
        </a:solidFill>
      </dgm:spPr>
      <dgm:t>
        <a:bodyPr/>
        <a:lstStyle/>
        <a:p>
          <a:r>
            <a:rPr lang="mn-MN" sz="1800" dirty="0">
              <a:solidFill>
                <a:schemeClr val="bg1"/>
              </a:solidFill>
            </a:rPr>
            <a:t>С.Мэндбаяр</a:t>
          </a:r>
          <a:endParaRPr lang="en-GB" sz="1800" dirty="0">
            <a:solidFill>
              <a:schemeClr val="bg1"/>
            </a:solidFill>
          </a:endParaRPr>
        </a:p>
      </dgm:t>
    </dgm:pt>
    <dgm:pt modelId="{92D34755-C04D-4BDC-AE9D-3D1011E09C64}" type="parTrans" cxnId="{D4443D16-732D-4620-B67D-66A9C76B4A7F}">
      <dgm:prSet/>
      <dgm:spPr/>
      <dgm:t>
        <a:bodyPr/>
        <a:lstStyle/>
        <a:p>
          <a:endParaRPr lang="en-GB">
            <a:solidFill>
              <a:schemeClr val="bg1"/>
            </a:solidFill>
          </a:endParaRPr>
        </a:p>
      </dgm:t>
    </dgm:pt>
    <dgm:pt modelId="{7BF24747-CF3E-4AA4-9157-9121B6387DDC}" type="sibTrans" cxnId="{D4443D16-732D-4620-B67D-66A9C76B4A7F}">
      <dgm:prSet/>
      <dgm:spPr/>
      <dgm:t>
        <a:bodyPr/>
        <a:lstStyle/>
        <a:p>
          <a:endParaRPr lang="en-GB">
            <a:solidFill>
              <a:schemeClr val="bg1"/>
            </a:solidFill>
          </a:endParaRPr>
        </a:p>
      </dgm:t>
    </dgm:pt>
    <dgm:pt modelId="{A5425E99-6897-44DD-90AA-956C1523CF08}">
      <dgm:prSet phldrT="[Text]" custT="1"/>
      <dgm:spPr>
        <a:solidFill>
          <a:schemeClr val="accent5">
            <a:lumMod val="25000"/>
          </a:schemeClr>
        </a:solidFill>
      </dgm:spPr>
      <dgm:t>
        <a:bodyPr/>
        <a:lstStyle/>
        <a:p>
          <a:r>
            <a:rPr lang="mn-MN" sz="1800" dirty="0">
              <a:solidFill>
                <a:schemeClr val="bg1"/>
              </a:solidFill>
            </a:rPr>
            <a:t>Ч.Сансар</a:t>
          </a:r>
          <a:endParaRPr lang="en-GB" sz="1800" dirty="0">
            <a:solidFill>
              <a:schemeClr val="bg1"/>
            </a:solidFill>
          </a:endParaRPr>
        </a:p>
      </dgm:t>
    </dgm:pt>
    <dgm:pt modelId="{47FE3821-B33B-456D-91D0-E8C8B4125FE7}" type="parTrans" cxnId="{E84AB567-EF67-4215-A213-CF5B530F4757}">
      <dgm:prSet/>
      <dgm:spPr/>
      <dgm:t>
        <a:bodyPr/>
        <a:lstStyle/>
        <a:p>
          <a:endParaRPr lang="en-GB"/>
        </a:p>
      </dgm:t>
    </dgm:pt>
    <dgm:pt modelId="{27830185-15A9-4BCB-B288-A1025EEA2D6A}" type="sibTrans" cxnId="{E84AB567-EF67-4215-A213-CF5B530F4757}">
      <dgm:prSet/>
      <dgm:spPr/>
      <dgm:t>
        <a:bodyPr/>
        <a:lstStyle/>
        <a:p>
          <a:endParaRPr lang="en-GB"/>
        </a:p>
      </dgm:t>
    </dgm:pt>
    <dgm:pt modelId="{D3ACC780-868F-40FB-92BD-F28BD5DBA101}" type="pres">
      <dgm:prSet presAssocID="{E9F0E186-5147-4AD0-B919-52FFDC9EC973}" presName="Name0" presStyleCnt="0">
        <dgm:presLayoutVars>
          <dgm:dir/>
          <dgm:resizeHandles/>
        </dgm:presLayoutVars>
      </dgm:prSet>
      <dgm:spPr/>
    </dgm:pt>
    <dgm:pt modelId="{1141A202-C5B5-4D3C-975C-5C4567971C0B}" type="pres">
      <dgm:prSet presAssocID="{DD1421FB-6EAF-43BC-B191-64E7BDF28808}" presName="composite" presStyleCnt="0"/>
      <dgm:spPr/>
    </dgm:pt>
    <dgm:pt modelId="{6F1F9600-EDF7-46EB-AA16-02DF0AF12881}" type="pres">
      <dgm:prSet presAssocID="{DD1421FB-6EAF-43BC-B191-64E7BDF28808}" presName="rect1" presStyleLbl="bgImgPlace1" presStyleIdx="0" presStyleCnt="4" custAng="5400000"/>
      <dgm:spPr>
        <a:blipFill>
          <a:blip xmlns:r="http://schemas.openxmlformats.org/officeDocument/2006/relationships" r:embed="rId1">
            <a:extLst>
              <a:ext uri="{28A0092B-C50C-407E-A947-70E740481C1C}">
                <a14:useLocalDpi xmlns:a14="http://schemas.microsoft.com/office/drawing/2010/main" val="0"/>
              </a:ext>
            </a:extLst>
          </a:blip>
          <a:srcRect/>
          <a:stretch>
            <a:fillRect l="-6000" r="-6000"/>
          </a:stretch>
        </a:blipFill>
      </dgm:spPr>
    </dgm:pt>
    <dgm:pt modelId="{D75F788E-CC18-4AA1-B3AD-3783041BDE5C}" type="pres">
      <dgm:prSet presAssocID="{DD1421FB-6EAF-43BC-B191-64E7BDF28808}" presName="rect2" presStyleLbl="node1" presStyleIdx="0" presStyleCnt="4" custScaleX="144320" custScaleY="50223" custLinFactNeighborY="35560">
        <dgm:presLayoutVars>
          <dgm:bulletEnabled val="1"/>
        </dgm:presLayoutVars>
      </dgm:prSet>
      <dgm:spPr/>
    </dgm:pt>
    <dgm:pt modelId="{C99DBC4B-FA4F-44B5-AA18-761E7690E2D3}" type="pres">
      <dgm:prSet presAssocID="{E266F272-FE85-4DBB-BB77-239A78975F9B}" presName="sibTrans" presStyleCnt="0"/>
      <dgm:spPr/>
    </dgm:pt>
    <dgm:pt modelId="{64C1AA26-C3E1-48F6-879B-21CADCA1CCFC}" type="pres">
      <dgm:prSet presAssocID="{999176E7-ECE1-4267-A0F0-C202E026A7B8}" presName="composite" presStyleCnt="0"/>
      <dgm:spPr/>
    </dgm:pt>
    <dgm:pt modelId="{D9473D38-0FB5-4C65-A594-B0EC62727EEC}" type="pres">
      <dgm:prSet presAssocID="{999176E7-ECE1-4267-A0F0-C202E026A7B8}" presName="rect1" presStyleLbl="bgImgPlace1" presStyleIdx="1" presStyleCnt="4" custAng="5400000" custLinFactNeighborX="2223" custLinFactNeighborY="2479"/>
      <dgm:spPr>
        <a:blipFill>
          <a:blip xmlns:r="http://schemas.openxmlformats.org/officeDocument/2006/relationships" r:embed="rId2">
            <a:extLst>
              <a:ext uri="{28A0092B-C50C-407E-A947-70E740481C1C}">
                <a14:useLocalDpi xmlns:a14="http://schemas.microsoft.com/office/drawing/2010/main" val="0"/>
              </a:ext>
            </a:extLst>
          </a:blip>
          <a:srcRect/>
          <a:stretch>
            <a:fillRect l="-6000" r="-6000"/>
          </a:stretch>
        </a:blipFill>
      </dgm:spPr>
    </dgm:pt>
    <dgm:pt modelId="{C16F8808-FB69-4BA8-B7EE-90C92D6FBF87}" type="pres">
      <dgm:prSet presAssocID="{999176E7-ECE1-4267-A0F0-C202E026A7B8}" presName="rect2" presStyleLbl="node1" presStyleIdx="1" presStyleCnt="4" custScaleX="182017" custScaleY="50223" custLinFactNeighborX="-15734" custLinFactNeighborY="35560">
        <dgm:presLayoutVars>
          <dgm:bulletEnabled val="1"/>
        </dgm:presLayoutVars>
      </dgm:prSet>
      <dgm:spPr/>
    </dgm:pt>
    <dgm:pt modelId="{2099E852-B873-466A-A268-84D4371761BD}" type="pres">
      <dgm:prSet presAssocID="{9CAAEF35-7669-4307-A0F4-BD4CDFBE7228}" presName="sibTrans" presStyleCnt="0"/>
      <dgm:spPr/>
    </dgm:pt>
    <dgm:pt modelId="{D1F16746-C6FE-4CA7-8035-9A94C91F7AE6}" type="pres">
      <dgm:prSet presAssocID="{A5425E99-6897-44DD-90AA-956C1523CF08}" presName="composite" presStyleCnt="0"/>
      <dgm:spPr/>
    </dgm:pt>
    <dgm:pt modelId="{0CDD551F-0C72-4E04-B7C8-16D2821C98E5}" type="pres">
      <dgm:prSet presAssocID="{A5425E99-6897-44DD-90AA-956C1523CF08}" presName="rect1" presStyleLbl="bgImgPlace1" presStyleIdx="2" presStyleCnt="4" custAng="5400000" custScaleX="91946" custLinFactNeighborY="17445"/>
      <dgm:spPr>
        <a:blipFill>
          <a:blip xmlns:r="http://schemas.openxmlformats.org/officeDocument/2006/relationships" r:embed="rId3">
            <a:extLst>
              <a:ext uri="{28A0092B-C50C-407E-A947-70E740481C1C}">
                <a14:useLocalDpi xmlns:a14="http://schemas.microsoft.com/office/drawing/2010/main" val="0"/>
              </a:ext>
            </a:extLst>
          </a:blip>
          <a:srcRect/>
          <a:stretch>
            <a:fillRect l="-6000" r="-6000"/>
          </a:stretch>
        </a:blipFill>
      </dgm:spPr>
    </dgm:pt>
    <dgm:pt modelId="{0EC13021-6D4D-4F75-860D-684C3D75B69C}" type="pres">
      <dgm:prSet presAssocID="{A5425E99-6897-44DD-90AA-956C1523CF08}" presName="rect2" presStyleLbl="node1" presStyleIdx="2" presStyleCnt="4" custScaleX="182017" custScaleY="50223" custLinFactNeighborX="-3215" custLinFactNeighborY="60834">
        <dgm:presLayoutVars>
          <dgm:bulletEnabled val="1"/>
        </dgm:presLayoutVars>
      </dgm:prSet>
      <dgm:spPr/>
    </dgm:pt>
    <dgm:pt modelId="{7F7DB681-EDE4-4901-8C2A-9B3229B03FF1}" type="pres">
      <dgm:prSet presAssocID="{27830185-15A9-4BCB-B288-A1025EEA2D6A}" presName="sibTrans" presStyleCnt="0"/>
      <dgm:spPr/>
    </dgm:pt>
    <dgm:pt modelId="{57F14B05-0BBF-4753-B817-BBCAE6BF4677}" type="pres">
      <dgm:prSet presAssocID="{3CC50A50-E93F-4F6F-8217-4D5D4BDF0A08}" presName="composite" presStyleCnt="0"/>
      <dgm:spPr/>
    </dgm:pt>
    <dgm:pt modelId="{145E1DDE-FA3C-4EBF-A6FE-9A0D3E8655EE}" type="pres">
      <dgm:prSet presAssocID="{3CC50A50-E93F-4F6F-8217-4D5D4BDF0A08}" presName="rect1" presStyleLbl="bgImgPlace1" presStyleIdx="3" presStyleCnt="4" custAng="5400000" custScaleX="96839" custScaleY="98251" custLinFactNeighborX="-1112" custLinFactNeighborY="4396"/>
      <dgm:spPr>
        <a:blipFill>
          <a:blip xmlns:r="http://schemas.openxmlformats.org/officeDocument/2006/relationships" r:embed="rId4">
            <a:extLst>
              <a:ext uri="{28A0092B-C50C-407E-A947-70E740481C1C}">
                <a14:useLocalDpi xmlns:a14="http://schemas.microsoft.com/office/drawing/2010/main" val="0"/>
              </a:ext>
            </a:extLst>
          </a:blip>
          <a:srcRect/>
          <a:stretch>
            <a:fillRect l="-6000" r="-6000"/>
          </a:stretch>
        </a:blipFill>
      </dgm:spPr>
    </dgm:pt>
    <dgm:pt modelId="{0847CE4F-4428-44CD-B74C-E7812884F230}" type="pres">
      <dgm:prSet presAssocID="{3CC50A50-E93F-4F6F-8217-4D5D4BDF0A08}" presName="rect2" presStyleLbl="node1" presStyleIdx="3" presStyleCnt="4" custScaleX="182017" custScaleY="50223" custLinFactNeighborY="62632">
        <dgm:presLayoutVars>
          <dgm:bulletEnabled val="1"/>
        </dgm:presLayoutVars>
      </dgm:prSet>
      <dgm:spPr/>
    </dgm:pt>
  </dgm:ptLst>
  <dgm:cxnLst>
    <dgm:cxn modelId="{D4443D16-732D-4620-B67D-66A9C76B4A7F}" srcId="{E9F0E186-5147-4AD0-B919-52FFDC9EC973}" destId="{3CC50A50-E93F-4F6F-8217-4D5D4BDF0A08}" srcOrd="3" destOrd="0" parTransId="{92D34755-C04D-4BDC-AE9D-3D1011E09C64}" sibTransId="{7BF24747-CF3E-4AA4-9157-9121B6387DDC}"/>
    <dgm:cxn modelId="{500A0A37-7D4D-40AC-AD77-E4EF6C448E8D}" srcId="{E9F0E186-5147-4AD0-B919-52FFDC9EC973}" destId="{DD1421FB-6EAF-43BC-B191-64E7BDF28808}" srcOrd="0" destOrd="0" parTransId="{334EFDEB-8776-40A4-BE36-80DAA90D4CB9}" sibTransId="{E266F272-FE85-4DBB-BB77-239A78975F9B}"/>
    <dgm:cxn modelId="{E84AB567-EF67-4215-A213-CF5B530F4757}" srcId="{E9F0E186-5147-4AD0-B919-52FFDC9EC973}" destId="{A5425E99-6897-44DD-90AA-956C1523CF08}" srcOrd="2" destOrd="0" parTransId="{47FE3821-B33B-456D-91D0-E8C8B4125FE7}" sibTransId="{27830185-15A9-4BCB-B288-A1025EEA2D6A}"/>
    <dgm:cxn modelId="{48148D81-6FD8-4311-AE2C-21D9C02613D3}" type="presOf" srcId="{DD1421FB-6EAF-43BC-B191-64E7BDF28808}" destId="{D75F788E-CC18-4AA1-B3AD-3783041BDE5C}" srcOrd="0" destOrd="0" presId="urn:microsoft.com/office/officeart/2008/layout/BendingPictureBlocks"/>
    <dgm:cxn modelId="{830CDD82-ADD3-459F-8061-AE5C040D6E7B}" srcId="{E9F0E186-5147-4AD0-B919-52FFDC9EC973}" destId="{999176E7-ECE1-4267-A0F0-C202E026A7B8}" srcOrd="1" destOrd="0" parTransId="{A0A8E240-92FE-49AE-AE7E-1F8744443E85}" sibTransId="{9CAAEF35-7669-4307-A0F4-BD4CDFBE7228}"/>
    <dgm:cxn modelId="{17F07888-6FD8-4DA8-ABED-CC023B17BE21}" type="presOf" srcId="{A5425E99-6897-44DD-90AA-956C1523CF08}" destId="{0EC13021-6D4D-4F75-860D-684C3D75B69C}" srcOrd="0" destOrd="0" presId="urn:microsoft.com/office/officeart/2008/layout/BendingPictureBlocks"/>
    <dgm:cxn modelId="{7E1BF788-C26E-48BD-9F03-DD3DD0A378B3}" type="presOf" srcId="{3CC50A50-E93F-4F6F-8217-4D5D4BDF0A08}" destId="{0847CE4F-4428-44CD-B74C-E7812884F230}" srcOrd="0" destOrd="0" presId="urn:microsoft.com/office/officeart/2008/layout/BendingPictureBlocks"/>
    <dgm:cxn modelId="{C7DE70EA-93AF-4B63-9F2F-BCB75ECFC757}" type="presOf" srcId="{E9F0E186-5147-4AD0-B919-52FFDC9EC973}" destId="{D3ACC780-868F-40FB-92BD-F28BD5DBA101}" srcOrd="0" destOrd="0" presId="urn:microsoft.com/office/officeart/2008/layout/BendingPictureBlocks"/>
    <dgm:cxn modelId="{B7A2D8F8-2149-4872-BFDE-D8E90EB45FD5}" type="presOf" srcId="{999176E7-ECE1-4267-A0F0-C202E026A7B8}" destId="{C16F8808-FB69-4BA8-B7EE-90C92D6FBF87}" srcOrd="0" destOrd="0" presId="urn:microsoft.com/office/officeart/2008/layout/BendingPictureBlocks"/>
    <dgm:cxn modelId="{32B86F33-0DFE-4272-A0D3-29B39E90B782}" type="presParOf" srcId="{D3ACC780-868F-40FB-92BD-F28BD5DBA101}" destId="{1141A202-C5B5-4D3C-975C-5C4567971C0B}" srcOrd="0" destOrd="0" presId="urn:microsoft.com/office/officeart/2008/layout/BendingPictureBlocks"/>
    <dgm:cxn modelId="{975DC444-7303-4B32-862C-09072F9C6043}" type="presParOf" srcId="{1141A202-C5B5-4D3C-975C-5C4567971C0B}" destId="{6F1F9600-EDF7-46EB-AA16-02DF0AF12881}" srcOrd="0" destOrd="0" presId="urn:microsoft.com/office/officeart/2008/layout/BendingPictureBlocks"/>
    <dgm:cxn modelId="{DA9C4339-F402-478F-BAF0-2E73CFF5FE78}" type="presParOf" srcId="{1141A202-C5B5-4D3C-975C-5C4567971C0B}" destId="{D75F788E-CC18-4AA1-B3AD-3783041BDE5C}" srcOrd="1" destOrd="0" presId="urn:microsoft.com/office/officeart/2008/layout/BendingPictureBlocks"/>
    <dgm:cxn modelId="{3426C518-3424-4AF5-B174-C75E4208E831}" type="presParOf" srcId="{D3ACC780-868F-40FB-92BD-F28BD5DBA101}" destId="{C99DBC4B-FA4F-44B5-AA18-761E7690E2D3}" srcOrd="1" destOrd="0" presId="urn:microsoft.com/office/officeart/2008/layout/BendingPictureBlocks"/>
    <dgm:cxn modelId="{BC5916B0-BE84-4A72-8E79-B786F224AC79}" type="presParOf" srcId="{D3ACC780-868F-40FB-92BD-F28BD5DBA101}" destId="{64C1AA26-C3E1-48F6-879B-21CADCA1CCFC}" srcOrd="2" destOrd="0" presId="urn:microsoft.com/office/officeart/2008/layout/BendingPictureBlocks"/>
    <dgm:cxn modelId="{7FAE1C3B-C93C-416C-A225-FDDA58E585F3}" type="presParOf" srcId="{64C1AA26-C3E1-48F6-879B-21CADCA1CCFC}" destId="{D9473D38-0FB5-4C65-A594-B0EC62727EEC}" srcOrd="0" destOrd="0" presId="urn:microsoft.com/office/officeart/2008/layout/BendingPictureBlocks"/>
    <dgm:cxn modelId="{D47A44BC-CA45-4B06-8732-BD451C178125}" type="presParOf" srcId="{64C1AA26-C3E1-48F6-879B-21CADCA1CCFC}" destId="{C16F8808-FB69-4BA8-B7EE-90C92D6FBF87}" srcOrd="1" destOrd="0" presId="urn:microsoft.com/office/officeart/2008/layout/BendingPictureBlocks"/>
    <dgm:cxn modelId="{06A5412A-15D1-471E-8D17-FD04578C192D}" type="presParOf" srcId="{D3ACC780-868F-40FB-92BD-F28BD5DBA101}" destId="{2099E852-B873-466A-A268-84D4371761BD}" srcOrd="3" destOrd="0" presId="urn:microsoft.com/office/officeart/2008/layout/BendingPictureBlocks"/>
    <dgm:cxn modelId="{9E4F30AF-8057-4C08-AFD0-CA8AC18ACD6C}" type="presParOf" srcId="{D3ACC780-868F-40FB-92BD-F28BD5DBA101}" destId="{D1F16746-C6FE-4CA7-8035-9A94C91F7AE6}" srcOrd="4" destOrd="0" presId="urn:microsoft.com/office/officeart/2008/layout/BendingPictureBlocks"/>
    <dgm:cxn modelId="{3BAE2843-52DE-475D-B138-8484BFC3FF14}" type="presParOf" srcId="{D1F16746-C6FE-4CA7-8035-9A94C91F7AE6}" destId="{0CDD551F-0C72-4E04-B7C8-16D2821C98E5}" srcOrd="0" destOrd="0" presId="urn:microsoft.com/office/officeart/2008/layout/BendingPictureBlocks"/>
    <dgm:cxn modelId="{671E499F-AC15-4BD4-897B-A2EC6C4D3E37}" type="presParOf" srcId="{D1F16746-C6FE-4CA7-8035-9A94C91F7AE6}" destId="{0EC13021-6D4D-4F75-860D-684C3D75B69C}" srcOrd="1" destOrd="0" presId="urn:microsoft.com/office/officeart/2008/layout/BendingPictureBlocks"/>
    <dgm:cxn modelId="{1A23E79F-D2BE-46E8-8640-791F0355FFEC}" type="presParOf" srcId="{D3ACC780-868F-40FB-92BD-F28BD5DBA101}" destId="{7F7DB681-EDE4-4901-8C2A-9B3229B03FF1}" srcOrd="5" destOrd="0" presId="urn:microsoft.com/office/officeart/2008/layout/BendingPictureBlocks"/>
    <dgm:cxn modelId="{836FCDF5-F24A-49C9-9DE3-A289D8A44C35}" type="presParOf" srcId="{D3ACC780-868F-40FB-92BD-F28BD5DBA101}" destId="{57F14B05-0BBF-4753-B817-BBCAE6BF4677}" srcOrd="6" destOrd="0" presId="urn:microsoft.com/office/officeart/2008/layout/BendingPictureBlocks"/>
    <dgm:cxn modelId="{09067993-9BC5-4FA5-96BD-6659F73D4F46}" type="presParOf" srcId="{57F14B05-0BBF-4753-B817-BBCAE6BF4677}" destId="{145E1DDE-FA3C-4EBF-A6FE-9A0D3E8655EE}" srcOrd="0" destOrd="0" presId="urn:microsoft.com/office/officeart/2008/layout/BendingPictureBlocks"/>
    <dgm:cxn modelId="{AE9147CE-7D5B-48F1-8D9D-688C0D2A3A29}" type="presParOf" srcId="{57F14B05-0BBF-4753-B817-BBCAE6BF4677}" destId="{0847CE4F-4428-44CD-B74C-E7812884F230}" srcOrd="1" destOrd="0" presId="urn:microsoft.com/office/officeart/2008/layout/BendingPictureBlock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1768C1D-2E56-4DB9-9323-29AF01F16D87}" type="doc">
      <dgm:prSet loTypeId="urn:microsoft.com/office/officeart/2005/8/layout/pList1" loCatId="picture" qsTypeId="urn:microsoft.com/office/officeart/2005/8/quickstyle/simple1" qsCatId="simple" csTypeId="urn:microsoft.com/office/officeart/2005/8/colors/accent1_2" csCatId="accent1" phldr="1"/>
      <dgm:spPr/>
      <dgm:t>
        <a:bodyPr/>
        <a:lstStyle/>
        <a:p>
          <a:endParaRPr lang="en-GB"/>
        </a:p>
      </dgm:t>
    </dgm:pt>
    <dgm:pt modelId="{21CA0D91-894F-4197-99B8-BA8F088EE641}">
      <dgm:prSet phldrT="[Text]" custT="1"/>
      <dgm:spPr/>
      <dgm:t>
        <a:bodyPr/>
        <a:lstStyle/>
        <a:p>
          <a:r>
            <a:rPr lang="mn-MN" sz="1400" dirty="0"/>
            <a:t>Цуглуулсан хүнсний хаягдал</a:t>
          </a:r>
          <a:endParaRPr lang="en-GB" sz="1400" dirty="0"/>
        </a:p>
      </dgm:t>
    </dgm:pt>
    <dgm:pt modelId="{7D1CEF04-254A-4015-887D-43500576DA12}" type="parTrans" cxnId="{94A2DF69-46E1-45D6-97BA-3326E2EDE20D}">
      <dgm:prSet/>
      <dgm:spPr/>
      <dgm:t>
        <a:bodyPr/>
        <a:lstStyle/>
        <a:p>
          <a:endParaRPr lang="en-GB" sz="1400"/>
        </a:p>
      </dgm:t>
    </dgm:pt>
    <dgm:pt modelId="{67D82D5E-374C-4D5B-87DD-8A59FB46AE77}" type="sibTrans" cxnId="{94A2DF69-46E1-45D6-97BA-3326E2EDE20D}">
      <dgm:prSet/>
      <dgm:spPr/>
      <dgm:t>
        <a:bodyPr/>
        <a:lstStyle/>
        <a:p>
          <a:endParaRPr lang="en-GB" sz="1400"/>
        </a:p>
      </dgm:t>
    </dgm:pt>
    <dgm:pt modelId="{C993C1FB-28AA-4F8D-B105-9F8D0B117D2B}">
      <dgm:prSet phldrT="[Text]" custT="1"/>
      <dgm:spPr/>
      <dgm:t>
        <a:bodyPr/>
        <a:lstStyle/>
        <a:p>
          <a:r>
            <a:rPr lang="mn-MN" sz="1400" dirty="0"/>
            <a:t>Гэр хорооллын өрхүүдээр судалгаа хийсэн нь</a:t>
          </a:r>
          <a:endParaRPr lang="en-GB" sz="1400" dirty="0"/>
        </a:p>
      </dgm:t>
    </dgm:pt>
    <dgm:pt modelId="{E834891C-A51C-46BE-AD95-EBBC11BB9A75}" type="parTrans" cxnId="{0385DEDC-126F-453F-AD32-C8712EBE9E27}">
      <dgm:prSet/>
      <dgm:spPr/>
      <dgm:t>
        <a:bodyPr/>
        <a:lstStyle/>
        <a:p>
          <a:endParaRPr lang="en-GB" sz="1400"/>
        </a:p>
      </dgm:t>
    </dgm:pt>
    <dgm:pt modelId="{D0DDB906-72A1-4C0D-AD48-3E82274FA27D}" type="sibTrans" cxnId="{0385DEDC-126F-453F-AD32-C8712EBE9E27}">
      <dgm:prSet/>
      <dgm:spPr/>
      <dgm:t>
        <a:bodyPr/>
        <a:lstStyle/>
        <a:p>
          <a:endParaRPr lang="en-GB" sz="1400"/>
        </a:p>
      </dgm:t>
    </dgm:pt>
    <dgm:pt modelId="{D1C60900-9422-40C2-9C50-CA5A7E361B12}">
      <dgm:prSet phldrT="[Text]" custT="1"/>
      <dgm:spPr/>
      <dgm:t>
        <a:bodyPr/>
        <a:lstStyle/>
        <a:p>
          <a:r>
            <a:rPr lang="mn-MN" sz="1400" dirty="0"/>
            <a:t>Хамгаалалт, ариутгалын хувцас хэрэгсэл бүхий судалгааны баг</a:t>
          </a:r>
          <a:endParaRPr lang="en-GB" sz="1400" dirty="0"/>
        </a:p>
      </dgm:t>
    </dgm:pt>
    <dgm:pt modelId="{C5C35F15-7191-4900-A55E-D5F3D495836E}" type="parTrans" cxnId="{9A1BDC6C-454B-46BD-AB1D-DE7B49B22AD0}">
      <dgm:prSet/>
      <dgm:spPr/>
      <dgm:t>
        <a:bodyPr/>
        <a:lstStyle/>
        <a:p>
          <a:endParaRPr lang="en-GB" sz="1400"/>
        </a:p>
      </dgm:t>
    </dgm:pt>
    <dgm:pt modelId="{D6DDC8AB-C6E0-4818-91AE-C18552E3C6A1}" type="sibTrans" cxnId="{9A1BDC6C-454B-46BD-AB1D-DE7B49B22AD0}">
      <dgm:prSet/>
      <dgm:spPr/>
      <dgm:t>
        <a:bodyPr/>
        <a:lstStyle/>
        <a:p>
          <a:endParaRPr lang="en-GB" sz="1400"/>
        </a:p>
      </dgm:t>
    </dgm:pt>
    <dgm:pt modelId="{FCFF0A6D-8660-4A3A-AEAA-4EB52720937A}">
      <dgm:prSet phldrT="[Text]" custT="1"/>
      <dgm:spPr/>
      <dgm:t>
        <a:bodyPr/>
        <a:lstStyle/>
        <a:p>
          <a:r>
            <a:rPr lang="mn-MN" sz="1400" dirty="0"/>
            <a:t>Судалгаанд хамрагдагсдад тараасан таниулан суралтчлах материалууд</a:t>
          </a:r>
          <a:endParaRPr lang="en-GB" sz="1400" dirty="0"/>
        </a:p>
      </dgm:t>
    </dgm:pt>
    <dgm:pt modelId="{E4137FE1-3A38-457B-8790-CD0871DFB0B5}" type="parTrans" cxnId="{53BF8A08-618C-4720-A10A-1CCBE945FF27}">
      <dgm:prSet/>
      <dgm:spPr/>
      <dgm:t>
        <a:bodyPr/>
        <a:lstStyle/>
        <a:p>
          <a:endParaRPr lang="en-GB" sz="1400"/>
        </a:p>
      </dgm:t>
    </dgm:pt>
    <dgm:pt modelId="{3F1DE173-073C-48A1-924D-4C13A2607895}" type="sibTrans" cxnId="{53BF8A08-618C-4720-A10A-1CCBE945FF27}">
      <dgm:prSet/>
      <dgm:spPr/>
      <dgm:t>
        <a:bodyPr/>
        <a:lstStyle/>
        <a:p>
          <a:endParaRPr lang="en-GB" sz="1400"/>
        </a:p>
      </dgm:t>
    </dgm:pt>
    <dgm:pt modelId="{0FD97818-5922-4D4F-B6A5-061CC861559F}" type="pres">
      <dgm:prSet presAssocID="{E1768C1D-2E56-4DB9-9323-29AF01F16D87}" presName="Name0" presStyleCnt="0">
        <dgm:presLayoutVars>
          <dgm:dir/>
          <dgm:resizeHandles val="exact"/>
        </dgm:presLayoutVars>
      </dgm:prSet>
      <dgm:spPr/>
    </dgm:pt>
    <dgm:pt modelId="{19F10ECD-AB46-4462-A583-32840584C551}" type="pres">
      <dgm:prSet presAssocID="{C993C1FB-28AA-4F8D-B105-9F8D0B117D2B}" presName="compNode" presStyleCnt="0"/>
      <dgm:spPr/>
    </dgm:pt>
    <dgm:pt modelId="{551DC90A-855D-4CBD-9088-D18D8E86E718}" type="pres">
      <dgm:prSet presAssocID="{C993C1FB-28AA-4F8D-B105-9F8D0B117D2B}" presName="pictRect" presStyleLbl="node1" presStyleIdx="0" presStyleCnt="4"/>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l="-26000" r="-26000"/>
          </a:stretch>
        </a:blipFill>
      </dgm:spPr>
    </dgm:pt>
    <dgm:pt modelId="{A164831D-B348-4A06-BAC9-55A6BC6236AF}" type="pres">
      <dgm:prSet presAssocID="{C993C1FB-28AA-4F8D-B105-9F8D0B117D2B}" presName="textRect" presStyleLbl="revTx" presStyleIdx="0" presStyleCnt="4" custScaleY="36268" custLinFactNeighborX="-409" custLinFactNeighborY="-30439">
        <dgm:presLayoutVars>
          <dgm:bulletEnabled val="1"/>
        </dgm:presLayoutVars>
      </dgm:prSet>
      <dgm:spPr/>
    </dgm:pt>
    <dgm:pt modelId="{F8F96BF6-3616-4A8E-BDA2-D6E2B9E8B6D5}" type="pres">
      <dgm:prSet presAssocID="{D0DDB906-72A1-4C0D-AD48-3E82274FA27D}" presName="sibTrans" presStyleLbl="sibTrans2D1" presStyleIdx="0" presStyleCnt="0"/>
      <dgm:spPr/>
    </dgm:pt>
    <dgm:pt modelId="{070D70DF-A92B-48E0-B340-E9CFDCD10199}" type="pres">
      <dgm:prSet presAssocID="{21CA0D91-894F-4197-99B8-BA8F088EE641}" presName="compNode" presStyleCnt="0"/>
      <dgm:spPr/>
    </dgm:pt>
    <dgm:pt modelId="{281C2237-4358-403B-8767-E126EB0ABEA2}" type="pres">
      <dgm:prSet presAssocID="{21CA0D91-894F-4197-99B8-BA8F088EE641}" presName="pictRect" presStyleLbl="node1" presStyleIdx="1" presStyleCnt="4"/>
      <dgm:spPr>
        <a:blipFill rotWithShape="1">
          <a:blip xmlns:r="http://schemas.openxmlformats.org/officeDocument/2006/relationships" r:embed="rId2" cstate="print">
            <a:extLst>
              <a:ext uri="{28A0092B-C50C-407E-A947-70E740481C1C}">
                <a14:useLocalDpi xmlns:a14="http://schemas.microsoft.com/office/drawing/2010/main" val="0"/>
              </a:ext>
            </a:extLst>
          </a:blip>
          <a:srcRect/>
          <a:stretch>
            <a:fillRect l="-27000" r="-27000"/>
          </a:stretch>
        </a:blipFill>
      </dgm:spPr>
    </dgm:pt>
    <dgm:pt modelId="{6EEE8DED-CD3F-4A47-9646-17A04DA5358F}" type="pres">
      <dgm:prSet presAssocID="{21CA0D91-894F-4197-99B8-BA8F088EE641}" presName="textRect" presStyleLbl="revTx" presStyleIdx="1" presStyleCnt="4" custScaleY="42752" custLinFactNeighborX="2239" custLinFactNeighborY="-24822">
        <dgm:presLayoutVars>
          <dgm:bulletEnabled val="1"/>
        </dgm:presLayoutVars>
      </dgm:prSet>
      <dgm:spPr/>
    </dgm:pt>
    <dgm:pt modelId="{EEFD6087-BE10-4539-9CBE-B4A874E3F45C}" type="pres">
      <dgm:prSet presAssocID="{67D82D5E-374C-4D5B-87DD-8A59FB46AE77}" presName="sibTrans" presStyleLbl="sibTrans2D1" presStyleIdx="0" presStyleCnt="0"/>
      <dgm:spPr/>
    </dgm:pt>
    <dgm:pt modelId="{A201A864-2282-4F86-AF23-815D0236749A}" type="pres">
      <dgm:prSet presAssocID="{D1C60900-9422-40C2-9C50-CA5A7E361B12}" presName="compNode" presStyleCnt="0"/>
      <dgm:spPr/>
    </dgm:pt>
    <dgm:pt modelId="{5787583E-9A73-4D53-8659-66F7B020FEDC}" type="pres">
      <dgm:prSet presAssocID="{D1C60900-9422-40C2-9C50-CA5A7E361B12}" presName="pictRect" presStyleLbl="node1" presStyleIdx="2" presStyleCnt="4" custLinFactNeighborX="-1203" custLinFactNeighborY="-11659"/>
      <dgm:spPr>
        <a:blipFill rotWithShape="1">
          <a:blip xmlns:r="http://schemas.openxmlformats.org/officeDocument/2006/relationships" r:embed="rId3" cstate="print">
            <a:extLst>
              <a:ext uri="{28A0092B-C50C-407E-A947-70E740481C1C}">
                <a14:useLocalDpi xmlns:a14="http://schemas.microsoft.com/office/drawing/2010/main" val="0"/>
              </a:ext>
            </a:extLst>
          </a:blip>
          <a:srcRect/>
          <a:stretch>
            <a:fillRect l="-27000" r="-27000"/>
          </a:stretch>
        </a:blipFill>
      </dgm:spPr>
    </dgm:pt>
    <dgm:pt modelId="{4B81E739-0164-4DAB-A6B1-6B44721F0427}" type="pres">
      <dgm:prSet presAssocID="{D1C60900-9422-40C2-9C50-CA5A7E361B12}" presName="textRect" presStyleLbl="revTx" presStyleIdx="2" presStyleCnt="4" custScaleY="49359" custLinFactNeighborX="-1203" custLinFactNeighborY="-35746">
        <dgm:presLayoutVars>
          <dgm:bulletEnabled val="1"/>
        </dgm:presLayoutVars>
      </dgm:prSet>
      <dgm:spPr/>
    </dgm:pt>
    <dgm:pt modelId="{8B4AF289-7563-4FAD-868D-8B13528B2241}" type="pres">
      <dgm:prSet presAssocID="{D6DDC8AB-C6E0-4818-91AE-C18552E3C6A1}" presName="sibTrans" presStyleLbl="sibTrans2D1" presStyleIdx="0" presStyleCnt="0"/>
      <dgm:spPr/>
    </dgm:pt>
    <dgm:pt modelId="{3CFB328C-5869-49D4-98DE-11AC2C34EB09}" type="pres">
      <dgm:prSet presAssocID="{FCFF0A6D-8660-4A3A-AEAA-4EB52720937A}" presName="compNode" presStyleCnt="0"/>
      <dgm:spPr/>
    </dgm:pt>
    <dgm:pt modelId="{38383255-58ED-4EF6-8A95-7ECC7984253C}" type="pres">
      <dgm:prSet presAssocID="{FCFF0A6D-8660-4A3A-AEAA-4EB52720937A}" presName="pictRect" presStyleLbl="node1" presStyleIdx="3" presStyleCnt="4" custLinFactNeighborX="-1081" custLinFactNeighborY="-14517"/>
      <dgm:spPr>
        <a:blipFill rotWithShape="1">
          <a:blip xmlns:r="http://schemas.openxmlformats.org/officeDocument/2006/relationships" r:embed="rId4" cstate="print">
            <a:extLst>
              <a:ext uri="{28A0092B-C50C-407E-A947-70E740481C1C}">
                <a14:useLocalDpi xmlns:a14="http://schemas.microsoft.com/office/drawing/2010/main" val="0"/>
              </a:ext>
            </a:extLst>
          </a:blip>
          <a:srcRect/>
          <a:stretch>
            <a:fillRect t="-56000" b="-56000"/>
          </a:stretch>
        </a:blipFill>
      </dgm:spPr>
    </dgm:pt>
    <dgm:pt modelId="{6FA9534E-97A2-493E-ACA6-B8566FFFE8C6}" type="pres">
      <dgm:prSet presAssocID="{FCFF0A6D-8660-4A3A-AEAA-4EB52720937A}" presName="textRect" presStyleLbl="revTx" presStyleIdx="3" presStyleCnt="4" custScaleY="47178" custLinFactNeighborX="2239" custLinFactNeighborY="-33367">
        <dgm:presLayoutVars>
          <dgm:bulletEnabled val="1"/>
        </dgm:presLayoutVars>
      </dgm:prSet>
      <dgm:spPr/>
    </dgm:pt>
  </dgm:ptLst>
  <dgm:cxnLst>
    <dgm:cxn modelId="{571DD503-BD53-4A0F-A0B0-817043A1D862}" type="presOf" srcId="{D1C60900-9422-40C2-9C50-CA5A7E361B12}" destId="{4B81E739-0164-4DAB-A6B1-6B44721F0427}" srcOrd="0" destOrd="0" presId="urn:microsoft.com/office/officeart/2005/8/layout/pList1"/>
    <dgm:cxn modelId="{176A5504-96AC-4EAC-ADDA-A0E6D781ACD2}" type="presOf" srcId="{C993C1FB-28AA-4F8D-B105-9F8D0B117D2B}" destId="{A164831D-B348-4A06-BAC9-55A6BC6236AF}" srcOrd="0" destOrd="0" presId="urn:microsoft.com/office/officeart/2005/8/layout/pList1"/>
    <dgm:cxn modelId="{53BF8A08-618C-4720-A10A-1CCBE945FF27}" srcId="{E1768C1D-2E56-4DB9-9323-29AF01F16D87}" destId="{FCFF0A6D-8660-4A3A-AEAA-4EB52720937A}" srcOrd="3" destOrd="0" parTransId="{E4137FE1-3A38-457B-8790-CD0871DFB0B5}" sibTransId="{3F1DE173-073C-48A1-924D-4C13A2607895}"/>
    <dgm:cxn modelId="{5E50AF15-8F04-4B09-AC95-78EBD2A78E0D}" type="presOf" srcId="{21CA0D91-894F-4197-99B8-BA8F088EE641}" destId="{6EEE8DED-CD3F-4A47-9646-17A04DA5358F}" srcOrd="0" destOrd="0" presId="urn:microsoft.com/office/officeart/2005/8/layout/pList1"/>
    <dgm:cxn modelId="{455C2E5B-68C3-404D-9DAB-D194BA5B6567}" type="presOf" srcId="{D6DDC8AB-C6E0-4818-91AE-C18552E3C6A1}" destId="{8B4AF289-7563-4FAD-868D-8B13528B2241}" srcOrd="0" destOrd="0" presId="urn:microsoft.com/office/officeart/2005/8/layout/pList1"/>
    <dgm:cxn modelId="{AE591C68-C403-446C-8313-922FB1EC2D12}" type="presOf" srcId="{D0DDB906-72A1-4C0D-AD48-3E82274FA27D}" destId="{F8F96BF6-3616-4A8E-BDA2-D6E2B9E8B6D5}" srcOrd="0" destOrd="0" presId="urn:microsoft.com/office/officeart/2005/8/layout/pList1"/>
    <dgm:cxn modelId="{94A2DF69-46E1-45D6-97BA-3326E2EDE20D}" srcId="{E1768C1D-2E56-4DB9-9323-29AF01F16D87}" destId="{21CA0D91-894F-4197-99B8-BA8F088EE641}" srcOrd="1" destOrd="0" parTransId="{7D1CEF04-254A-4015-887D-43500576DA12}" sibTransId="{67D82D5E-374C-4D5B-87DD-8A59FB46AE77}"/>
    <dgm:cxn modelId="{9A1BDC6C-454B-46BD-AB1D-DE7B49B22AD0}" srcId="{E1768C1D-2E56-4DB9-9323-29AF01F16D87}" destId="{D1C60900-9422-40C2-9C50-CA5A7E361B12}" srcOrd="2" destOrd="0" parTransId="{C5C35F15-7191-4900-A55E-D5F3D495836E}" sibTransId="{D6DDC8AB-C6E0-4818-91AE-C18552E3C6A1}"/>
    <dgm:cxn modelId="{83400F73-AD63-4712-8369-D69E2DC1C89D}" type="presOf" srcId="{FCFF0A6D-8660-4A3A-AEAA-4EB52720937A}" destId="{6FA9534E-97A2-493E-ACA6-B8566FFFE8C6}" srcOrd="0" destOrd="0" presId="urn:microsoft.com/office/officeart/2005/8/layout/pList1"/>
    <dgm:cxn modelId="{9D894F7E-1B26-4DCE-81B3-ECEAB74B79A4}" type="presOf" srcId="{E1768C1D-2E56-4DB9-9323-29AF01F16D87}" destId="{0FD97818-5922-4D4F-B6A5-061CC861559F}" srcOrd="0" destOrd="0" presId="urn:microsoft.com/office/officeart/2005/8/layout/pList1"/>
    <dgm:cxn modelId="{8A0A3ED2-663D-42F5-BB7B-FF918E4D2E16}" type="presOf" srcId="{67D82D5E-374C-4D5B-87DD-8A59FB46AE77}" destId="{EEFD6087-BE10-4539-9CBE-B4A874E3F45C}" srcOrd="0" destOrd="0" presId="urn:microsoft.com/office/officeart/2005/8/layout/pList1"/>
    <dgm:cxn modelId="{0385DEDC-126F-453F-AD32-C8712EBE9E27}" srcId="{E1768C1D-2E56-4DB9-9323-29AF01F16D87}" destId="{C993C1FB-28AA-4F8D-B105-9F8D0B117D2B}" srcOrd="0" destOrd="0" parTransId="{E834891C-A51C-46BE-AD95-EBBC11BB9A75}" sibTransId="{D0DDB906-72A1-4C0D-AD48-3E82274FA27D}"/>
    <dgm:cxn modelId="{23C92732-730D-4459-8036-74DB03F05BD6}" type="presParOf" srcId="{0FD97818-5922-4D4F-B6A5-061CC861559F}" destId="{19F10ECD-AB46-4462-A583-32840584C551}" srcOrd="0" destOrd="0" presId="urn:microsoft.com/office/officeart/2005/8/layout/pList1"/>
    <dgm:cxn modelId="{774278F6-22B1-4991-BE21-49B53D42619E}" type="presParOf" srcId="{19F10ECD-AB46-4462-A583-32840584C551}" destId="{551DC90A-855D-4CBD-9088-D18D8E86E718}" srcOrd="0" destOrd="0" presId="urn:microsoft.com/office/officeart/2005/8/layout/pList1"/>
    <dgm:cxn modelId="{6137791B-D577-4733-AF7C-8F3CA98C55C9}" type="presParOf" srcId="{19F10ECD-AB46-4462-A583-32840584C551}" destId="{A164831D-B348-4A06-BAC9-55A6BC6236AF}" srcOrd="1" destOrd="0" presId="urn:microsoft.com/office/officeart/2005/8/layout/pList1"/>
    <dgm:cxn modelId="{6C0BBE34-9F45-472C-A38A-99F929F31DFE}" type="presParOf" srcId="{0FD97818-5922-4D4F-B6A5-061CC861559F}" destId="{F8F96BF6-3616-4A8E-BDA2-D6E2B9E8B6D5}" srcOrd="1" destOrd="0" presId="urn:microsoft.com/office/officeart/2005/8/layout/pList1"/>
    <dgm:cxn modelId="{A2E958FE-D2C5-4703-8B35-A9BDDCE19554}" type="presParOf" srcId="{0FD97818-5922-4D4F-B6A5-061CC861559F}" destId="{070D70DF-A92B-48E0-B340-E9CFDCD10199}" srcOrd="2" destOrd="0" presId="urn:microsoft.com/office/officeart/2005/8/layout/pList1"/>
    <dgm:cxn modelId="{D14E1011-830E-4599-A689-A25C3A05F702}" type="presParOf" srcId="{070D70DF-A92B-48E0-B340-E9CFDCD10199}" destId="{281C2237-4358-403B-8767-E126EB0ABEA2}" srcOrd="0" destOrd="0" presId="urn:microsoft.com/office/officeart/2005/8/layout/pList1"/>
    <dgm:cxn modelId="{BA7BAFD5-7EF1-4176-9FAE-60E7CAEA5394}" type="presParOf" srcId="{070D70DF-A92B-48E0-B340-E9CFDCD10199}" destId="{6EEE8DED-CD3F-4A47-9646-17A04DA5358F}" srcOrd="1" destOrd="0" presId="urn:microsoft.com/office/officeart/2005/8/layout/pList1"/>
    <dgm:cxn modelId="{2AB687C4-BE4C-47BC-9AC1-7BCF0953768F}" type="presParOf" srcId="{0FD97818-5922-4D4F-B6A5-061CC861559F}" destId="{EEFD6087-BE10-4539-9CBE-B4A874E3F45C}" srcOrd="3" destOrd="0" presId="urn:microsoft.com/office/officeart/2005/8/layout/pList1"/>
    <dgm:cxn modelId="{7506D3DA-E419-4A89-B868-C4B9B24188D3}" type="presParOf" srcId="{0FD97818-5922-4D4F-B6A5-061CC861559F}" destId="{A201A864-2282-4F86-AF23-815D0236749A}" srcOrd="4" destOrd="0" presId="urn:microsoft.com/office/officeart/2005/8/layout/pList1"/>
    <dgm:cxn modelId="{A01BE34D-9065-4322-95AA-10AC042FA362}" type="presParOf" srcId="{A201A864-2282-4F86-AF23-815D0236749A}" destId="{5787583E-9A73-4D53-8659-66F7B020FEDC}" srcOrd="0" destOrd="0" presId="urn:microsoft.com/office/officeart/2005/8/layout/pList1"/>
    <dgm:cxn modelId="{4A58087B-27A1-4F1C-966F-3DC915CDFD47}" type="presParOf" srcId="{A201A864-2282-4F86-AF23-815D0236749A}" destId="{4B81E739-0164-4DAB-A6B1-6B44721F0427}" srcOrd="1" destOrd="0" presId="urn:microsoft.com/office/officeart/2005/8/layout/pList1"/>
    <dgm:cxn modelId="{761368AB-3591-4BE0-AC51-16DB6EE83B90}" type="presParOf" srcId="{0FD97818-5922-4D4F-B6A5-061CC861559F}" destId="{8B4AF289-7563-4FAD-868D-8B13528B2241}" srcOrd="5" destOrd="0" presId="urn:microsoft.com/office/officeart/2005/8/layout/pList1"/>
    <dgm:cxn modelId="{196936B5-BAB3-491F-A618-A13F362EA50B}" type="presParOf" srcId="{0FD97818-5922-4D4F-B6A5-061CC861559F}" destId="{3CFB328C-5869-49D4-98DE-11AC2C34EB09}" srcOrd="6" destOrd="0" presId="urn:microsoft.com/office/officeart/2005/8/layout/pList1"/>
    <dgm:cxn modelId="{34BF0537-C0A0-4D58-B5DF-B9A16C5F4CEF}" type="presParOf" srcId="{3CFB328C-5869-49D4-98DE-11AC2C34EB09}" destId="{38383255-58ED-4EF6-8A95-7ECC7984253C}" srcOrd="0" destOrd="0" presId="urn:microsoft.com/office/officeart/2005/8/layout/pList1"/>
    <dgm:cxn modelId="{5533D911-F514-4A2F-8F4A-23C77A10CDA7}" type="presParOf" srcId="{3CFB328C-5869-49D4-98DE-11AC2C34EB09}" destId="{6FA9534E-97A2-493E-ACA6-B8566FFFE8C6}" srcOrd="1" destOrd="0" presId="urn:microsoft.com/office/officeart/2005/8/layout/p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36B63C3-EC8A-4D92-9B77-A6875CF98CD6}"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GB"/>
        </a:p>
      </dgm:t>
    </dgm:pt>
    <dgm:pt modelId="{E6D95B2F-2C17-45BC-9EB6-DFC0744F451E}">
      <dgm:prSet phldrT="[Text]"/>
      <dgm:spPr>
        <a:blipFill rotWithShape="0">
          <a:blip xmlns:r="http://schemas.openxmlformats.org/officeDocument/2006/relationships" r:embed="rId1"/>
          <a:srcRect/>
          <a:stretch>
            <a:fillRect/>
          </a:stretch>
        </a:blipFill>
        <a:ln>
          <a:solidFill>
            <a:schemeClr val="bg1">
              <a:lumMod val="50000"/>
            </a:schemeClr>
          </a:solidFill>
        </a:ln>
      </dgm:spPr>
      <dgm:t>
        <a:bodyPr/>
        <a:lstStyle/>
        <a:p>
          <a:r>
            <a:rPr lang="en-GB" dirty="0"/>
            <a:t> </a:t>
          </a:r>
        </a:p>
      </dgm:t>
    </dgm:pt>
    <dgm:pt modelId="{4A1D34F4-5DAF-430B-AEE8-4AFC188B8FAE}" type="parTrans" cxnId="{1AB6CAFB-1A82-4AE8-A700-18C9201ED198}">
      <dgm:prSet/>
      <dgm:spPr/>
      <dgm:t>
        <a:bodyPr/>
        <a:lstStyle/>
        <a:p>
          <a:endParaRPr lang="en-GB"/>
        </a:p>
      </dgm:t>
    </dgm:pt>
    <dgm:pt modelId="{EEE7B298-F39F-454D-9852-E3520EF3B84C}" type="sibTrans" cxnId="{1AB6CAFB-1A82-4AE8-A700-18C9201ED198}">
      <dgm:prSet/>
      <dgm:spPr/>
      <dgm:t>
        <a:bodyPr/>
        <a:lstStyle/>
        <a:p>
          <a:endParaRPr lang="en-GB"/>
        </a:p>
      </dgm:t>
    </dgm:pt>
    <dgm:pt modelId="{F824860C-F5D3-4414-907E-1B3FBD3A9B26}">
      <dgm:prSet phldrT="[Text]"/>
      <dgm:spPr>
        <a:blipFill rotWithShape="0">
          <a:blip xmlns:r="http://schemas.openxmlformats.org/officeDocument/2006/relationships" r:embed="rId2"/>
          <a:srcRect/>
          <a:stretch>
            <a:fillRect/>
          </a:stretch>
        </a:blipFill>
        <a:ln>
          <a:solidFill>
            <a:schemeClr val="bg1">
              <a:lumMod val="50000"/>
            </a:schemeClr>
          </a:solidFill>
        </a:ln>
      </dgm:spPr>
      <dgm:t>
        <a:bodyPr/>
        <a:lstStyle/>
        <a:p>
          <a:r>
            <a:rPr lang="en-GB" dirty="0"/>
            <a:t> </a:t>
          </a:r>
        </a:p>
      </dgm:t>
    </dgm:pt>
    <dgm:pt modelId="{A49B03C1-32FD-4B89-950E-BBB55FF04B47}" type="parTrans" cxnId="{3B86CFBE-EE85-49D6-87B6-E891EEE30767}">
      <dgm:prSet/>
      <dgm:spPr/>
      <dgm:t>
        <a:bodyPr/>
        <a:lstStyle/>
        <a:p>
          <a:endParaRPr lang="en-GB"/>
        </a:p>
      </dgm:t>
    </dgm:pt>
    <dgm:pt modelId="{55923495-A549-4DB4-A654-3457FBCC357A}" type="sibTrans" cxnId="{3B86CFBE-EE85-49D6-87B6-E891EEE30767}">
      <dgm:prSet/>
      <dgm:spPr/>
      <dgm:t>
        <a:bodyPr/>
        <a:lstStyle/>
        <a:p>
          <a:endParaRPr lang="en-GB"/>
        </a:p>
      </dgm:t>
    </dgm:pt>
    <dgm:pt modelId="{C3D33D51-896C-4393-BC52-04B2E27D6AC8}">
      <dgm:prSet phldrT="[Text]"/>
      <dgm:spPr>
        <a:blipFill rotWithShape="0">
          <a:blip xmlns:r="http://schemas.openxmlformats.org/officeDocument/2006/relationships" r:embed="rId3"/>
          <a:srcRect/>
          <a:stretch>
            <a:fillRect/>
          </a:stretch>
        </a:blipFill>
        <a:ln>
          <a:solidFill>
            <a:schemeClr val="bg1">
              <a:lumMod val="50000"/>
            </a:schemeClr>
          </a:solidFill>
        </a:ln>
      </dgm:spPr>
      <dgm:t>
        <a:bodyPr/>
        <a:lstStyle/>
        <a:p>
          <a:r>
            <a:rPr lang="en-GB" dirty="0"/>
            <a:t> </a:t>
          </a:r>
        </a:p>
      </dgm:t>
    </dgm:pt>
    <dgm:pt modelId="{18EAB237-C004-4DFE-98B7-1737B9CB7736}" type="parTrans" cxnId="{60FEA2AC-96E0-44D4-B098-37BBC15470EB}">
      <dgm:prSet/>
      <dgm:spPr/>
      <dgm:t>
        <a:bodyPr/>
        <a:lstStyle/>
        <a:p>
          <a:endParaRPr lang="en-GB"/>
        </a:p>
      </dgm:t>
    </dgm:pt>
    <dgm:pt modelId="{8F95518F-EC15-4527-A438-59A30371F971}" type="sibTrans" cxnId="{60FEA2AC-96E0-44D4-B098-37BBC15470EB}">
      <dgm:prSet/>
      <dgm:spPr/>
      <dgm:t>
        <a:bodyPr/>
        <a:lstStyle/>
        <a:p>
          <a:endParaRPr lang="en-GB"/>
        </a:p>
      </dgm:t>
    </dgm:pt>
    <dgm:pt modelId="{9B285472-4EB7-4BE0-8031-54D908B53356}">
      <dgm:prSet phldrT="[Text]"/>
      <dgm:spPr>
        <a:blipFill rotWithShape="0">
          <a:blip xmlns:r="http://schemas.openxmlformats.org/officeDocument/2006/relationships" r:embed="rId4"/>
          <a:srcRect/>
          <a:stretch>
            <a:fillRect/>
          </a:stretch>
        </a:blipFill>
        <a:ln>
          <a:solidFill>
            <a:schemeClr val="bg1">
              <a:lumMod val="50000"/>
            </a:schemeClr>
          </a:solidFill>
        </a:ln>
      </dgm:spPr>
      <dgm:t>
        <a:bodyPr/>
        <a:lstStyle/>
        <a:p>
          <a:r>
            <a:rPr lang="en-GB" dirty="0"/>
            <a:t> </a:t>
          </a:r>
        </a:p>
      </dgm:t>
    </dgm:pt>
    <dgm:pt modelId="{62DFA289-EB7B-433E-9C16-33C604D1E8D2}" type="parTrans" cxnId="{1953ABD6-A795-43B9-B04D-837C8E7DCEB0}">
      <dgm:prSet/>
      <dgm:spPr/>
      <dgm:t>
        <a:bodyPr/>
        <a:lstStyle/>
        <a:p>
          <a:endParaRPr lang="en-GB"/>
        </a:p>
      </dgm:t>
    </dgm:pt>
    <dgm:pt modelId="{00C74A59-17E7-412E-B039-91C0AE643A21}" type="sibTrans" cxnId="{1953ABD6-A795-43B9-B04D-837C8E7DCEB0}">
      <dgm:prSet/>
      <dgm:spPr/>
      <dgm:t>
        <a:bodyPr/>
        <a:lstStyle/>
        <a:p>
          <a:endParaRPr lang="en-GB"/>
        </a:p>
      </dgm:t>
    </dgm:pt>
    <dgm:pt modelId="{55EF8F1B-F549-467F-AD64-EB301167FE03}">
      <dgm:prSet phldrT="[Text]"/>
      <dgm:spPr>
        <a:blipFill rotWithShape="0">
          <a:blip xmlns:r="http://schemas.openxmlformats.org/officeDocument/2006/relationships" r:embed="rId5"/>
          <a:srcRect/>
          <a:stretch>
            <a:fillRect/>
          </a:stretch>
        </a:blipFill>
        <a:ln>
          <a:solidFill>
            <a:schemeClr val="bg1">
              <a:lumMod val="50000"/>
            </a:schemeClr>
          </a:solidFill>
        </a:ln>
      </dgm:spPr>
      <dgm:t>
        <a:bodyPr/>
        <a:lstStyle/>
        <a:p>
          <a:r>
            <a:rPr lang="en-GB" dirty="0"/>
            <a:t> </a:t>
          </a:r>
        </a:p>
      </dgm:t>
    </dgm:pt>
    <dgm:pt modelId="{BFDEE137-60AD-4EB6-B02F-524F084E567E}" type="parTrans" cxnId="{BC1482A0-7056-476B-8FB0-9BD014F989E0}">
      <dgm:prSet/>
      <dgm:spPr/>
      <dgm:t>
        <a:bodyPr/>
        <a:lstStyle/>
        <a:p>
          <a:endParaRPr lang="en-GB"/>
        </a:p>
      </dgm:t>
    </dgm:pt>
    <dgm:pt modelId="{C7066FC2-2E86-4136-8D8B-A082D7484985}" type="sibTrans" cxnId="{BC1482A0-7056-476B-8FB0-9BD014F989E0}">
      <dgm:prSet/>
      <dgm:spPr/>
      <dgm:t>
        <a:bodyPr/>
        <a:lstStyle/>
        <a:p>
          <a:endParaRPr lang="en-GB"/>
        </a:p>
      </dgm:t>
    </dgm:pt>
    <dgm:pt modelId="{7333BF15-088F-46C8-A28E-934BDB2E4D5A}" type="pres">
      <dgm:prSet presAssocID="{A36B63C3-EC8A-4D92-9B77-A6875CF98CD6}" presName="cycle" presStyleCnt="0">
        <dgm:presLayoutVars>
          <dgm:dir/>
          <dgm:resizeHandles val="exact"/>
        </dgm:presLayoutVars>
      </dgm:prSet>
      <dgm:spPr/>
    </dgm:pt>
    <dgm:pt modelId="{482BC136-D39B-4225-A8E1-9B1E53DE4376}" type="pres">
      <dgm:prSet presAssocID="{E6D95B2F-2C17-45BC-9EB6-DFC0744F451E}" presName="node" presStyleLbl="node1" presStyleIdx="0" presStyleCnt="5">
        <dgm:presLayoutVars>
          <dgm:bulletEnabled val="1"/>
        </dgm:presLayoutVars>
      </dgm:prSet>
      <dgm:spPr/>
    </dgm:pt>
    <dgm:pt modelId="{FAD01EF8-1DED-4A07-B06E-549620129CAB}" type="pres">
      <dgm:prSet presAssocID="{EEE7B298-F39F-454D-9852-E3520EF3B84C}" presName="sibTrans" presStyleLbl="sibTrans2D1" presStyleIdx="0" presStyleCnt="5"/>
      <dgm:spPr/>
    </dgm:pt>
    <dgm:pt modelId="{A132F741-346C-470A-98F3-F1FDA6F1437B}" type="pres">
      <dgm:prSet presAssocID="{EEE7B298-F39F-454D-9852-E3520EF3B84C}" presName="connectorText" presStyleLbl="sibTrans2D1" presStyleIdx="0" presStyleCnt="5"/>
      <dgm:spPr/>
    </dgm:pt>
    <dgm:pt modelId="{9DE9D2FC-DF44-4F61-9536-AB3A43B4F02E}" type="pres">
      <dgm:prSet presAssocID="{F824860C-F5D3-4414-907E-1B3FBD3A9B26}" presName="node" presStyleLbl="node1" presStyleIdx="1" presStyleCnt="5">
        <dgm:presLayoutVars>
          <dgm:bulletEnabled val="1"/>
        </dgm:presLayoutVars>
      </dgm:prSet>
      <dgm:spPr/>
    </dgm:pt>
    <dgm:pt modelId="{AB2C1938-72E3-4EC3-B04C-A2058F6B9D18}" type="pres">
      <dgm:prSet presAssocID="{55923495-A549-4DB4-A654-3457FBCC357A}" presName="sibTrans" presStyleLbl="sibTrans2D1" presStyleIdx="1" presStyleCnt="5"/>
      <dgm:spPr/>
    </dgm:pt>
    <dgm:pt modelId="{7CB726FE-0746-44FC-AB09-31C3D7D6C7A5}" type="pres">
      <dgm:prSet presAssocID="{55923495-A549-4DB4-A654-3457FBCC357A}" presName="connectorText" presStyleLbl="sibTrans2D1" presStyleIdx="1" presStyleCnt="5"/>
      <dgm:spPr/>
    </dgm:pt>
    <dgm:pt modelId="{41189C13-F5E8-4553-9262-2B11AF605F0D}" type="pres">
      <dgm:prSet presAssocID="{C3D33D51-896C-4393-BC52-04B2E27D6AC8}" presName="node" presStyleLbl="node1" presStyleIdx="2" presStyleCnt="5">
        <dgm:presLayoutVars>
          <dgm:bulletEnabled val="1"/>
        </dgm:presLayoutVars>
      </dgm:prSet>
      <dgm:spPr/>
    </dgm:pt>
    <dgm:pt modelId="{D3366DDC-9604-441C-8D92-03E81E098F13}" type="pres">
      <dgm:prSet presAssocID="{8F95518F-EC15-4527-A438-59A30371F971}" presName="sibTrans" presStyleLbl="sibTrans2D1" presStyleIdx="2" presStyleCnt="5"/>
      <dgm:spPr/>
    </dgm:pt>
    <dgm:pt modelId="{F040895F-9174-423A-B333-AA23DEA15295}" type="pres">
      <dgm:prSet presAssocID="{8F95518F-EC15-4527-A438-59A30371F971}" presName="connectorText" presStyleLbl="sibTrans2D1" presStyleIdx="2" presStyleCnt="5"/>
      <dgm:spPr/>
    </dgm:pt>
    <dgm:pt modelId="{5929EA8F-F0D9-4DF2-95BA-EFB627CA8C22}" type="pres">
      <dgm:prSet presAssocID="{9B285472-4EB7-4BE0-8031-54D908B53356}" presName="node" presStyleLbl="node1" presStyleIdx="3" presStyleCnt="5">
        <dgm:presLayoutVars>
          <dgm:bulletEnabled val="1"/>
        </dgm:presLayoutVars>
      </dgm:prSet>
      <dgm:spPr/>
    </dgm:pt>
    <dgm:pt modelId="{09960E58-599A-419E-98E9-3C9D73874FB8}" type="pres">
      <dgm:prSet presAssocID="{00C74A59-17E7-412E-B039-91C0AE643A21}" presName="sibTrans" presStyleLbl="sibTrans2D1" presStyleIdx="3" presStyleCnt="5"/>
      <dgm:spPr/>
    </dgm:pt>
    <dgm:pt modelId="{184F6160-DC89-431A-91D8-B4E4FD5CEFA9}" type="pres">
      <dgm:prSet presAssocID="{00C74A59-17E7-412E-B039-91C0AE643A21}" presName="connectorText" presStyleLbl="sibTrans2D1" presStyleIdx="3" presStyleCnt="5"/>
      <dgm:spPr/>
    </dgm:pt>
    <dgm:pt modelId="{BCF60CD1-3D70-4839-80E3-3D0D1FA00AC5}" type="pres">
      <dgm:prSet presAssocID="{55EF8F1B-F549-467F-AD64-EB301167FE03}" presName="node" presStyleLbl="node1" presStyleIdx="4" presStyleCnt="5">
        <dgm:presLayoutVars>
          <dgm:bulletEnabled val="1"/>
        </dgm:presLayoutVars>
      </dgm:prSet>
      <dgm:spPr/>
    </dgm:pt>
    <dgm:pt modelId="{493DE7D4-D45D-4118-AA57-99D89BA01267}" type="pres">
      <dgm:prSet presAssocID="{C7066FC2-2E86-4136-8D8B-A082D7484985}" presName="sibTrans" presStyleLbl="sibTrans2D1" presStyleIdx="4" presStyleCnt="5"/>
      <dgm:spPr/>
    </dgm:pt>
    <dgm:pt modelId="{3EEFFAB6-D048-4D58-B946-8C2E941DCF78}" type="pres">
      <dgm:prSet presAssocID="{C7066FC2-2E86-4136-8D8B-A082D7484985}" presName="connectorText" presStyleLbl="sibTrans2D1" presStyleIdx="4" presStyleCnt="5"/>
      <dgm:spPr/>
    </dgm:pt>
  </dgm:ptLst>
  <dgm:cxnLst>
    <dgm:cxn modelId="{47013210-F0F5-4EF4-A1F0-1A02BD3208B9}" type="presOf" srcId="{C7066FC2-2E86-4136-8D8B-A082D7484985}" destId="{3EEFFAB6-D048-4D58-B946-8C2E941DCF78}" srcOrd="1" destOrd="0" presId="urn:microsoft.com/office/officeart/2005/8/layout/cycle2"/>
    <dgm:cxn modelId="{779E8C26-A9DB-40B8-AEDA-E7758DDE5502}" type="presOf" srcId="{9B285472-4EB7-4BE0-8031-54D908B53356}" destId="{5929EA8F-F0D9-4DF2-95BA-EFB627CA8C22}" srcOrd="0" destOrd="0" presId="urn:microsoft.com/office/officeart/2005/8/layout/cycle2"/>
    <dgm:cxn modelId="{02C9692E-A33B-4EC7-91F2-0DB63BE012F0}" type="presOf" srcId="{00C74A59-17E7-412E-B039-91C0AE643A21}" destId="{184F6160-DC89-431A-91D8-B4E4FD5CEFA9}" srcOrd="1" destOrd="0" presId="urn:microsoft.com/office/officeart/2005/8/layout/cycle2"/>
    <dgm:cxn modelId="{B1CA1E32-599D-4453-AFF7-E340A31458C6}" type="presOf" srcId="{C3D33D51-896C-4393-BC52-04B2E27D6AC8}" destId="{41189C13-F5E8-4553-9262-2B11AF605F0D}" srcOrd="0" destOrd="0" presId="urn:microsoft.com/office/officeart/2005/8/layout/cycle2"/>
    <dgm:cxn modelId="{DD3F7A60-2573-4450-9B34-C3335F339E8D}" type="presOf" srcId="{E6D95B2F-2C17-45BC-9EB6-DFC0744F451E}" destId="{482BC136-D39B-4225-A8E1-9B1E53DE4376}" srcOrd="0" destOrd="0" presId="urn:microsoft.com/office/officeart/2005/8/layout/cycle2"/>
    <dgm:cxn modelId="{EF38C543-995A-4E77-891D-E2C2E635E5A8}" type="presOf" srcId="{8F95518F-EC15-4527-A438-59A30371F971}" destId="{D3366DDC-9604-441C-8D92-03E81E098F13}" srcOrd="0" destOrd="0" presId="urn:microsoft.com/office/officeart/2005/8/layout/cycle2"/>
    <dgm:cxn modelId="{998E5C66-C519-4198-A038-55FB77A8AA2D}" type="presOf" srcId="{A36B63C3-EC8A-4D92-9B77-A6875CF98CD6}" destId="{7333BF15-088F-46C8-A28E-934BDB2E4D5A}" srcOrd="0" destOrd="0" presId="urn:microsoft.com/office/officeart/2005/8/layout/cycle2"/>
    <dgm:cxn modelId="{6B37C86A-43FC-487B-ADBF-4D2EA22E05B2}" type="presOf" srcId="{EEE7B298-F39F-454D-9852-E3520EF3B84C}" destId="{FAD01EF8-1DED-4A07-B06E-549620129CAB}" srcOrd="0" destOrd="0" presId="urn:microsoft.com/office/officeart/2005/8/layout/cycle2"/>
    <dgm:cxn modelId="{A9E6B05A-A3B8-427F-9CBB-38EEF2FFF2AB}" type="presOf" srcId="{55EF8F1B-F549-467F-AD64-EB301167FE03}" destId="{BCF60CD1-3D70-4839-80E3-3D0D1FA00AC5}" srcOrd="0" destOrd="0" presId="urn:microsoft.com/office/officeart/2005/8/layout/cycle2"/>
    <dgm:cxn modelId="{1AFC638A-7FAA-4AF5-8475-7F97DD90AB95}" type="presOf" srcId="{F824860C-F5D3-4414-907E-1B3FBD3A9B26}" destId="{9DE9D2FC-DF44-4F61-9536-AB3A43B4F02E}" srcOrd="0" destOrd="0" presId="urn:microsoft.com/office/officeart/2005/8/layout/cycle2"/>
    <dgm:cxn modelId="{FB9BCA9A-E631-4CCD-A0E6-8CE9DC8B868C}" type="presOf" srcId="{00C74A59-17E7-412E-B039-91C0AE643A21}" destId="{09960E58-599A-419E-98E9-3C9D73874FB8}" srcOrd="0" destOrd="0" presId="urn:microsoft.com/office/officeart/2005/8/layout/cycle2"/>
    <dgm:cxn modelId="{7EF4D19D-C430-4A3D-8758-A7C644692C94}" type="presOf" srcId="{C7066FC2-2E86-4136-8D8B-A082D7484985}" destId="{493DE7D4-D45D-4118-AA57-99D89BA01267}" srcOrd="0" destOrd="0" presId="urn:microsoft.com/office/officeart/2005/8/layout/cycle2"/>
    <dgm:cxn modelId="{BC1482A0-7056-476B-8FB0-9BD014F989E0}" srcId="{A36B63C3-EC8A-4D92-9B77-A6875CF98CD6}" destId="{55EF8F1B-F549-467F-AD64-EB301167FE03}" srcOrd="4" destOrd="0" parTransId="{BFDEE137-60AD-4EB6-B02F-524F084E567E}" sibTransId="{C7066FC2-2E86-4136-8D8B-A082D7484985}"/>
    <dgm:cxn modelId="{C26A8AAA-47D7-47F6-AF9C-43127349D3AD}" type="presOf" srcId="{55923495-A549-4DB4-A654-3457FBCC357A}" destId="{AB2C1938-72E3-4EC3-B04C-A2058F6B9D18}" srcOrd="0" destOrd="0" presId="urn:microsoft.com/office/officeart/2005/8/layout/cycle2"/>
    <dgm:cxn modelId="{60FEA2AC-96E0-44D4-B098-37BBC15470EB}" srcId="{A36B63C3-EC8A-4D92-9B77-A6875CF98CD6}" destId="{C3D33D51-896C-4393-BC52-04B2E27D6AC8}" srcOrd="2" destOrd="0" parTransId="{18EAB237-C004-4DFE-98B7-1737B9CB7736}" sibTransId="{8F95518F-EC15-4527-A438-59A30371F971}"/>
    <dgm:cxn modelId="{3B86CFBE-EE85-49D6-87B6-E891EEE30767}" srcId="{A36B63C3-EC8A-4D92-9B77-A6875CF98CD6}" destId="{F824860C-F5D3-4414-907E-1B3FBD3A9B26}" srcOrd="1" destOrd="0" parTransId="{A49B03C1-32FD-4B89-950E-BBB55FF04B47}" sibTransId="{55923495-A549-4DB4-A654-3457FBCC357A}"/>
    <dgm:cxn modelId="{158401C0-C57F-45E6-A0EE-BBC973A6C1B0}" type="presOf" srcId="{8F95518F-EC15-4527-A438-59A30371F971}" destId="{F040895F-9174-423A-B333-AA23DEA15295}" srcOrd="1" destOrd="0" presId="urn:microsoft.com/office/officeart/2005/8/layout/cycle2"/>
    <dgm:cxn modelId="{9125BDC8-BA3E-4397-AC8E-A9C1F472C32F}" type="presOf" srcId="{55923495-A549-4DB4-A654-3457FBCC357A}" destId="{7CB726FE-0746-44FC-AB09-31C3D7D6C7A5}" srcOrd="1" destOrd="0" presId="urn:microsoft.com/office/officeart/2005/8/layout/cycle2"/>
    <dgm:cxn modelId="{596A8FCB-05F5-4FC5-8032-8F7ECFA97A3E}" type="presOf" srcId="{EEE7B298-F39F-454D-9852-E3520EF3B84C}" destId="{A132F741-346C-470A-98F3-F1FDA6F1437B}" srcOrd="1" destOrd="0" presId="urn:microsoft.com/office/officeart/2005/8/layout/cycle2"/>
    <dgm:cxn modelId="{1953ABD6-A795-43B9-B04D-837C8E7DCEB0}" srcId="{A36B63C3-EC8A-4D92-9B77-A6875CF98CD6}" destId="{9B285472-4EB7-4BE0-8031-54D908B53356}" srcOrd="3" destOrd="0" parTransId="{62DFA289-EB7B-433E-9C16-33C604D1E8D2}" sibTransId="{00C74A59-17E7-412E-B039-91C0AE643A21}"/>
    <dgm:cxn modelId="{1AB6CAFB-1A82-4AE8-A700-18C9201ED198}" srcId="{A36B63C3-EC8A-4D92-9B77-A6875CF98CD6}" destId="{E6D95B2F-2C17-45BC-9EB6-DFC0744F451E}" srcOrd="0" destOrd="0" parTransId="{4A1D34F4-5DAF-430B-AEE8-4AFC188B8FAE}" sibTransId="{EEE7B298-F39F-454D-9852-E3520EF3B84C}"/>
    <dgm:cxn modelId="{6ECCA1FF-C14C-4DED-A886-ECD235E51EB4}" type="presParOf" srcId="{7333BF15-088F-46C8-A28E-934BDB2E4D5A}" destId="{482BC136-D39B-4225-A8E1-9B1E53DE4376}" srcOrd="0" destOrd="0" presId="urn:microsoft.com/office/officeart/2005/8/layout/cycle2"/>
    <dgm:cxn modelId="{16722C05-99A7-4343-BBEA-0DCC61885BD2}" type="presParOf" srcId="{7333BF15-088F-46C8-A28E-934BDB2E4D5A}" destId="{FAD01EF8-1DED-4A07-B06E-549620129CAB}" srcOrd="1" destOrd="0" presId="urn:microsoft.com/office/officeart/2005/8/layout/cycle2"/>
    <dgm:cxn modelId="{C7AF1F8D-EB21-4DF9-B8DE-61F5563379F3}" type="presParOf" srcId="{FAD01EF8-1DED-4A07-B06E-549620129CAB}" destId="{A132F741-346C-470A-98F3-F1FDA6F1437B}" srcOrd="0" destOrd="0" presId="urn:microsoft.com/office/officeart/2005/8/layout/cycle2"/>
    <dgm:cxn modelId="{AF743BC4-EB84-4731-8BBC-9660F1441077}" type="presParOf" srcId="{7333BF15-088F-46C8-A28E-934BDB2E4D5A}" destId="{9DE9D2FC-DF44-4F61-9536-AB3A43B4F02E}" srcOrd="2" destOrd="0" presId="urn:microsoft.com/office/officeart/2005/8/layout/cycle2"/>
    <dgm:cxn modelId="{88C976B3-522D-4686-8CD4-6696487C6B8B}" type="presParOf" srcId="{7333BF15-088F-46C8-A28E-934BDB2E4D5A}" destId="{AB2C1938-72E3-4EC3-B04C-A2058F6B9D18}" srcOrd="3" destOrd="0" presId="urn:microsoft.com/office/officeart/2005/8/layout/cycle2"/>
    <dgm:cxn modelId="{E5DBCF12-ED07-45EB-8899-3725D79FF096}" type="presParOf" srcId="{AB2C1938-72E3-4EC3-B04C-A2058F6B9D18}" destId="{7CB726FE-0746-44FC-AB09-31C3D7D6C7A5}" srcOrd="0" destOrd="0" presId="urn:microsoft.com/office/officeart/2005/8/layout/cycle2"/>
    <dgm:cxn modelId="{341F294E-43AE-4B82-B090-05E8CF146169}" type="presParOf" srcId="{7333BF15-088F-46C8-A28E-934BDB2E4D5A}" destId="{41189C13-F5E8-4553-9262-2B11AF605F0D}" srcOrd="4" destOrd="0" presId="urn:microsoft.com/office/officeart/2005/8/layout/cycle2"/>
    <dgm:cxn modelId="{837B678E-BA74-40F2-A25F-5641E536E9D6}" type="presParOf" srcId="{7333BF15-088F-46C8-A28E-934BDB2E4D5A}" destId="{D3366DDC-9604-441C-8D92-03E81E098F13}" srcOrd="5" destOrd="0" presId="urn:microsoft.com/office/officeart/2005/8/layout/cycle2"/>
    <dgm:cxn modelId="{8B60BA4E-643C-45CC-ABAA-E67A9F979AE9}" type="presParOf" srcId="{D3366DDC-9604-441C-8D92-03E81E098F13}" destId="{F040895F-9174-423A-B333-AA23DEA15295}" srcOrd="0" destOrd="0" presId="urn:microsoft.com/office/officeart/2005/8/layout/cycle2"/>
    <dgm:cxn modelId="{35DDC42E-2727-4469-B471-850156A3C15A}" type="presParOf" srcId="{7333BF15-088F-46C8-A28E-934BDB2E4D5A}" destId="{5929EA8F-F0D9-4DF2-95BA-EFB627CA8C22}" srcOrd="6" destOrd="0" presId="urn:microsoft.com/office/officeart/2005/8/layout/cycle2"/>
    <dgm:cxn modelId="{0750E529-29C4-4F08-B3B8-0AC64F48FFBA}" type="presParOf" srcId="{7333BF15-088F-46C8-A28E-934BDB2E4D5A}" destId="{09960E58-599A-419E-98E9-3C9D73874FB8}" srcOrd="7" destOrd="0" presId="urn:microsoft.com/office/officeart/2005/8/layout/cycle2"/>
    <dgm:cxn modelId="{0826DE64-5491-444E-AB4E-23C941C1AC6A}" type="presParOf" srcId="{09960E58-599A-419E-98E9-3C9D73874FB8}" destId="{184F6160-DC89-431A-91D8-B4E4FD5CEFA9}" srcOrd="0" destOrd="0" presId="urn:microsoft.com/office/officeart/2005/8/layout/cycle2"/>
    <dgm:cxn modelId="{644DF210-5CA1-4073-9BB9-AF9431C413FD}" type="presParOf" srcId="{7333BF15-088F-46C8-A28E-934BDB2E4D5A}" destId="{BCF60CD1-3D70-4839-80E3-3D0D1FA00AC5}" srcOrd="8" destOrd="0" presId="urn:microsoft.com/office/officeart/2005/8/layout/cycle2"/>
    <dgm:cxn modelId="{20D9AE86-EF79-4BC7-AAB3-8EDDA7B0EBBA}" type="presParOf" srcId="{7333BF15-088F-46C8-A28E-934BDB2E4D5A}" destId="{493DE7D4-D45D-4118-AA57-99D89BA01267}" srcOrd="9" destOrd="0" presId="urn:microsoft.com/office/officeart/2005/8/layout/cycle2"/>
    <dgm:cxn modelId="{047B13E2-8EEF-431A-A6FB-83BE57E35AE3}" type="presParOf" srcId="{493DE7D4-D45D-4118-AA57-99D89BA01267}" destId="{3EEFFAB6-D048-4D58-B946-8C2E941DCF78}"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1F9600-EDF7-46EB-AA16-02DF0AF12881}">
      <dsp:nvSpPr>
        <dsp:cNvPr id="0" name=""/>
        <dsp:cNvSpPr/>
      </dsp:nvSpPr>
      <dsp:spPr>
        <a:xfrm rot="5400000">
          <a:off x="2000768" y="280575"/>
          <a:ext cx="2788128" cy="2345015"/>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75F788E-CC18-4AA1-B3AD-3783041BDE5C}">
      <dsp:nvSpPr>
        <dsp:cNvPr id="0" name=""/>
        <dsp:cNvSpPr/>
      </dsp:nvSpPr>
      <dsp:spPr>
        <a:xfrm>
          <a:off x="627238" y="2179794"/>
          <a:ext cx="2180770" cy="758902"/>
        </a:xfrm>
        <a:prstGeom prst="rect">
          <a:avLst/>
        </a:prstGeom>
        <a:solidFill>
          <a:schemeClr val="accent5">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mn-MN" sz="2000" kern="1200" dirty="0">
              <a:solidFill>
                <a:schemeClr val="bg1"/>
              </a:solidFill>
            </a:rPr>
            <a:t>Жэйн Гилберт</a:t>
          </a:r>
          <a:endParaRPr lang="en-GB" sz="2000" kern="1200" dirty="0">
            <a:solidFill>
              <a:schemeClr val="bg1"/>
            </a:solidFill>
          </a:endParaRPr>
        </a:p>
      </dsp:txBody>
      <dsp:txXfrm>
        <a:off x="627238" y="2179794"/>
        <a:ext cx="2180770" cy="758902"/>
      </dsp:txXfrm>
    </dsp:sp>
    <dsp:sp modelId="{D9473D38-0FB5-4C65-A594-B0EC62727EEC}">
      <dsp:nvSpPr>
        <dsp:cNvPr id="0" name=""/>
        <dsp:cNvSpPr/>
      </dsp:nvSpPr>
      <dsp:spPr>
        <a:xfrm rot="5400000">
          <a:off x="6998947" y="338708"/>
          <a:ext cx="2788128" cy="2345015"/>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16F8808-FB69-4BA8-B7EE-90C92D6FBF87}">
      <dsp:nvSpPr>
        <dsp:cNvPr id="0" name=""/>
        <dsp:cNvSpPr/>
      </dsp:nvSpPr>
      <dsp:spPr>
        <a:xfrm>
          <a:off x="5040873" y="2179794"/>
          <a:ext cx="2750397" cy="758902"/>
        </a:xfrm>
        <a:prstGeom prst="rect">
          <a:avLst/>
        </a:prstGeom>
        <a:solidFill>
          <a:schemeClr val="accent5">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mn-MN" sz="1800" kern="1200" dirty="0">
              <a:solidFill>
                <a:schemeClr val="bg1"/>
              </a:solidFill>
            </a:rPr>
            <a:t>Б.Дэлгэрбаяр</a:t>
          </a:r>
          <a:endParaRPr lang="en-GB" sz="1800" kern="1200" dirty="0">
            <a:solidFill>
              <a:schemeClr val="bg1"/>
            </a:solidFill>
          </a:endParaRPr>
        </a:p>
      </dsp:txBody>
      <dsp:txXfrm>
        <a:off x="5040873" y="2179794"/>
        <a:ext cx="2750397" cy="758902"/>
      </dsp:txXfrm>
    </dsp:sp>
    <dsp:sp modelId="{0CDD551F-0C72-4E04-B7C8-16D2821C98E5}">
      <dsp:nvSpPr>
        <dsp:cNvPr id="0" name=""/>
        <dsp:cNvSpPr/>
      </dsp:nvSpPr>
      <dsp:spPr>
        <a:xfrm rot="5400000">
          <a:off x="2333625" y="3219266"/>
          <a:ext cx="2563572" cy="2345015"/>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EC13021-6D4D-4F75-860D-684C3D75B69C}">
      <dsp:nvSpPr>
        <dsp:cNvPr id="0" name=""/>
        <dsp:cNvSpPr/>
      </dsp:nvSpPr>
      <dsp:spPr>
        <a:xfrm>
          <a:off x="514423" y="4914658"/>
          <a:ext cx="2750397" cy="758902"/>
        </a:xfrm>
        <a:prstGeom prst="rect">
          <a:avLst/>
        </a:prstGeom>
        <a:solidFill>
          <a:schemeClr val="accent5">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mn-MN" sz="1800" kern="1200" dirty="0">
              <a:solidFill>
                <a:schemeClr val="bg1"/>
              </a:solidFill>
            </a:rPr>
            <a:t>Ч.Сансар</a:t>
          </a:r>
          <a:endParaRPr lang="en-GB" sz="1800" kern="1200" dirty="0">
            <a:solidFill>
              <a:schemeClr val="bg1"/>
            </a:solidFill>
          </a:endParaRPr>
        </a:p>
      </dsp:txBody>
      <dsp:txXfrm>
        <a:off x="514423" y="4914658"/>
        <a:ext cx="2750397" cy="758902"/>
      </dsp:txXfrm>
    </dsp:sp>
    <dsp:sp modelId="{145E1DDE-FA3C-4EBF-A6FE-9A0D3E8655EE}">
      <dsp:nvSpPr>
        <dsp:cNvPr id="0" name=""/>
        <dsp:cNvSpPr/>
      </dsp:nvSpPr>
      <dsp:spPr>
        <a:xfrm rot="5400000">
          <a:off x="7058330" y="3171562"/>
          <a:ext cx="2699995" cy="2304001"/>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847CE4F-4428-44CD-B74C-E7812884F230}">
      <dsp:nvSpPr>
        <dsp:cNvPr id="0" name=""/>
        <dsp:cNvSpPr/>
      </dsp:nvSpPr>
      <dsp:spPr>
        <a:xfrm>
          <a:off x="5386925" y="4914658"/>
          <a:ext cx="2750397" cy="758902"/>
        </a:xfrm>
        <a:prstGeom prst="rect">
          <a:avLst/>
        </a:prstGeom>
        <a:solidFill>
          <a:schemeClr val="accent5">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mn-MN" sz="1800" kern="1200" dirty="0">
              <a:solidFill>
                <a:schemeClr val="bg1"/>
              </a:solidFill>
            </a:rPr>
            <a:t>С.Мэндбаяр</a:t>
          </a:r>
          <a:endParaRPr lang="en-GB" sz="1800" kern="1200" dirty="0">
            <a:solidFill>
              <a:schemeClr val="bg1"/>
            </a:solidFill>
          </a:endParaRPr>
        </a:p>
      </dsp:txBody>
      <dsp:txXfrm>
        <a:off x="5386925" y="4914658"/>
        <a:ext cx="2750397" cy="7589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1DC90A-855D-4CBD-9088-D18D8E86E718}">
      <dsp:nvSpPr>
        <dsp:cNvPr id="0" name=""/>
        <dsp:cNvSpPr/>
      </dsp:nvSpPr>
      <dsp:spPr>
        <a:xfrm>
          <a:off x="438187" y="17575"/>
          <a:ext cx="2562613" cy="1765640"/>
        </a:xfrm>
        <a:prstGeom prst="roundRect">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l="-26000" r="-2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64831D-B348-4A06-BAC9-55A6BC6236AF}">
      <dsp:nvSpPr>
        <dsp:cNvPr id="0" name=""/>
        <dsp:cNvSpPr/>
      </dsp:nvSpPr>
      <dsp:spPr>
        <a:xfrm>
          <a:off x="427706" y="1796782"/>
          <a:ext cx="2562613" cy="3448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a:lnSpc>
              <a:spcPct val="90000"/>
            </a:lnSpc>
            <a:spcBef>
              <a:spcPct val="0"/>
            </a:spcBef>
            <a:spcAft>
              <a:spcPct val="35000"/>
            </a:spcAft>
            <a:buNone/>
          </a:pPr>
          <a:r>
            <a:rPr lang="mn-MN" sz="1400" kern="1200" dirty="0"/>
            <a:t>Гэр хорооллын өрхүүдээр судалгаа хийсэн нь</a:t>
          </a:r>
          <a:endParaRPr lang="en-GB" sz="1400" kern="1200" dirty="0"/>
        </a:p>
      </dsp:txBody>
      <dsp:txXfrm>
        <a:off x="427706" y="1796782"/>
        <a:ext cx="2562613" cy="344810"/>
      </dsp:txXfrm>
    </dsp:sp>
    <dsp:sp modelId="{281C2237-4358-403B-8767-E126EB0ABEA2}">
      <dsp:nvSpPr>
        <dsp:cNvPr id="0" name=""/>
        <dsp:cNvSpPr/>
      </dsp:nvSpPr>
      <dsp:spPr>
        <a:xfrm>
          <a:off x="3257170" y="2163"/>
          <a:ext cx="2562613" cy="1765640"/>
        </a:xfrm>
        <a:prstGeom prst="roundRect">
          <a:avLst/>
        </a:prstGeom>
        <a:blipFill rotWithShape="1">
          <a:blip xmlns:r="http://schemas.openxmlformats.org/officeDocument/2006/relationships" r:embed="rId2" cstate="print">
            <a:extLst>
              <a:ext uri="{28A0092B-C50C-407E-A947-70E740481C1C}">
                <a14:useLocalDpi xmlns:a14="http://schemas.microsoft.com/office/drawing/2010/main" val="0"/>
              </a:ext>
            </a:extLst>
          </a:blip>
          <a:srcRect/>
          <a:stretch>
            <a:fillRect l="-27000" r="-2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EE8DED-CD3F-4A47-9646-17A04DA5358F}">
      <dsp:nvSpPr>
        <dsp:cNvPr id="0" name=""/>
        <dsp:cNvSpPr/>
      </dsp:nvSpPr>
      <dsp:spPr>
        <a:xfrm>
          <a:off x="3314547" y="1803951"/>
          <a:ext cx="2562613" cy="4064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a:lnSpc>
              <a:spcPct val="90000"/>
            </a:lnSpc>
            <a:spcBef>
              <a:spcPct val="0"/>
            </a:spcBef>
            <a:spcAft>
              <a:spcPct val="35000"/>
            </a:spcAft>
            <a:buNone/>
          </a:pPr>
          <a:r>
            <a:rPr lang="mn-MN" sz="1400" kern="1200" dirty="0"/>
            <a:t>Цуглуулсан хүнсний хаягдал</a:t>
          </a:r>
          <a:endParaRPr lang="en-GB" sz="1400" kern="1200" dirty="0"/>
        </a:p>
      </dsp:txBody>
      <dsp:txXfrm>
        <a:off x="3314547" y="1803951"/>
        <a:ext cx="2562613" cy="406455"/>
      </dsp:txXfrm>
    </dsp:sp>
    <dsp:sp modelId="{5787583E-9A73-4D53-8659-66F7B020FEDC}">
      <dsp:nvSpPr>
        <dsp:cNvPr id="0" name=""/>
        <dsp:cNvSpPr/>
      </dsp:nvSpPr>
      <dsp:spPr>
        <a:xfrm>
          <a:off x="407359" y="2496802"/>
          <a:ext cx="2562613" cy="1765640"/>
        </a:xfrm>
        <a:prstGeom prst="roundRect">
          <a:avLst/>
        </a:prstGeom>
        <a:blipFill rotWithShape="1">
          <a:blip xmlns:r="http://schemas.openxmlformats.org/officeDocument/2006/relationships" r:embed="rId3" cstate="print">
            <a:extLst>
              <a:ext uri="{28A0092B-C50C-407E-A947-70E740481C1C}">
                <a14:useLocalDpi xmlns:a14="http://schemas.microsoft.com/office/drawing/2010/main" val="0"/>
              </a:ext>
            </a:extLst>
          </a:blip>
          <a:srcRect/>
          <a:stretch>
            <a:fillRect l="-27000" r="-2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81E739-0164-4DAB-A6B1-6B44721F0427}">
      <dsp:nvSpPr>
        <dsp:cNvPr id="0" name=""/>
        <dsp:cNvSpPr/>
      </dsp:nvSpPr>
      <dsp:spPr>
        <a:xfrm>
          <a:off x="407359" y="4369181"/>
          <a:ext cx="2562613" cy="4692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a:lnSpc>
              <a:spcPct val="90000"/>
            </a:lnSpc>
            <a:spcBef>
              <a:spcPct val="0"/>
            </a:spcBef>
            <a:spcAft>
              <a:spcPct val="35000"/>
            </a:spcAft>
            <a:buNone/>
          </a:pPr>
          <a:r>
            <a:rPr lang="mn-MN" sz="1400" kern="1200" dirty="0"/>
            <a:t>Хамгаалалт, ариутгалын хувцас хэрэгсэл бүхий судалгааны баг</a:t>
          </a:r>
          <a:endParaRPr lang="en-GB" sz="1400" kern="1200" dirty="0"/>
        </a:p>
      </dsp:txBody>
      <dsp:txXfrm>
        <a:off x="407359" y="4369181"/>
        <a:ext cx="2562613" cy="469270"/>
      </dsp:txXfrm>
    </dsp:sp>
    <dsp:sp modelId="{38383255-58ED-4EF6-8A95-7ECC7984253C}">
      <dsp:nvSpPr>
        <dsp:cNvPr id="0" name=""/>
        <dsp:cNvSpPr/>
      </dsp:nvSpPr>
      <dsp:spPr>
        <a:xfrm>
          <a:off x="3229468" y="2451524"/>
          <a:ext cx="2562613" cy="1765640"/>
        </a:xfrm>
        <a:prstGeom prst="roundRect">
          <a:avLst/>
        </a:prstGeom>
        <a:blipFill rotWithShape="1">
          <a:blip xmlns:r="http://schemas.openxmlformats.org/officeDocument/2006/relationships" r:embed="rId4" cstate="print">
            <a:extLst>
              <a:ext uri="{28A0092B-C50C-407E-A947-70E740481C1C}">
                <a14:useLocalDpi xmlns:a14="http://schemas.microsoft.com/office/drawing/2010/main" val="0"/>
              </a:ext>
            </a:extLst>
          </a:blip>
          <a:srcRect/>
          <a:stretch>
            <a:fillRect t="-56000" b="-5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FA9534E-97A2-493E-ACA6-B8566FFFE8C6}">
      <dsp:nvSpPr>
        <dsp:cNvPr id="0" name=""/>
        <dsp:cNvSpPr/>
      </dsp:nvSpPr>
      <dsp:spPr>
        <a:xfrm>
          <a:off x="3314547" y="4407351"/>
          <a:ext cx="2562613" cy="448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a:lnSpc>
              <a:spcPct val="90000"/>
            </a:lnSpc>
            <a:spcBef>
              <a:spcPct val="0"/>
            </a:spcBef>
            <a:spcAft>
              <a:spcPct val="35000"/>
            </a:spcAft>
            <a:buNone/>
          </a:pPr>
          <a:r>
            <a:rPr lang="mn-MN" sz="1400" kern="1200" dirty="0"/>
            <a:t>Судалгаанд хамрагдагсдад тараасан таниулан суралтчлах материалууд</a:t>
          </a:r>
          <a:endParaRPr lang="en-GB" sz="1400" kern="1200" dirty="0"/>
        </a:p>
      </dsp:txBody>
      <dsp:txXfrm>
        <a:off x="3314547" y="4407351"/>
        <a:ext cx="2562613" cy="4485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2BC136-D39B-4225-A8E1-9B1E53DE4376}">
      <dsp:nvSpPr>
        <dsp:cNvPr id="0" name=""/>
        <dsp:cNvSpPr/>
      </dsp:nvSpPr>
      <dsp:spPr>
        <a:xfrm>
          <a:off x="2547807" y="1741"/>
          <a:ext cx="1453377" cy="1453377"/>
        </a:xfrm>
        <a:prstGeom prst="ellipse">
          <a:avLst/>
        </a:prstGeom>
        <a:blipFill rotWithShape="0">
          <a:blip xmlns:r="http://schemas.openxmlformats.org/officeDocument/2006/relationships" r:embed="rId1"/>
          <a:srcRect/>
          <a:stretch>
            <a:fillRect/>
          </a:stretch>
        </a:blip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740" tIns="78740" rIns="78740" bIns="78740" numCol="1" spcCol="1270" anchor="ctr" anchorCtr="0">
          <a:noAutofit/>
        </a:bodyPr>
        <a:lstStyle/>
        <a:p>
          <a:pPr marL="0" lvl="0" indent="0" algn="ctr" defTabSz="2755900">
            <a:lnSpc>
              <a:spcPct val="90000"/>
            </a:lnSpc>
            <a:spcBef>
              <a:spcPct val="0"/>
            </a:spcBef>
            <a:spcAft>
              <a:spcPct val="35000"/>
            </a:spcAft>
            <a:buNone/>
          </a:pPr>
          <a:r>
            <a:rPr lang="en-GB" sz="6200" kern="1200" dirty="0"/>
            <a:t> </a:t>
          </a:r>
        </a:p>
      </dsp:txBody>
      <dsp:txXfrm>
        <a:off x="2760649" y="214583"/>
        <a:ext cx="1027693" cy="1027693"/>
      </dsp:txXfrm>
    </dsp:sp>
    <dsp:sp modelId="{FAD01EF8-1DED-4A07-B06E-549620129CAB}">
      <dsp:nvSpPr>
        <dsp:cNvPr id="0" name=""/>
        <dsp:cNvSpPr/>
      </dsp:nvSpPr>
      <dsp:spPr>
        <a:xfrm rot="2160000">
          <a:off x="3955228" y="1118072"/>
          <a:ext cx="386262" cy="49051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GB" sz="2100" kern="1200"/>
        </a:p>
      </dsp:txBody>
      <dsp:txXfrm>
        <a:off x="3966293" y="1182119"/>
        <a:ext cx="270383" cy="294308"/>
      </dsp:txXfrm>
    </dsp:sp>
    <dsp:sp modelId="{9DE9D2FC-DF44-4F61-9536-AB3A43B4F02E}">
      <dsp:nvSpPr>
        <dsp:cNvPr id="0" name=""/>
        <dsp:cNvSpPr/>
      </dsp:nvSpPr>
      <dsp:spPr>
        <a:xfrm>
          <a:off x="4313224" y="1284392"/>
          <a:ext cx="1453377" cy="1453377"/>
        </a:xfrm>
        <a:prstGeom prst="ellipse">
          <a:avLst/>
        </a:prstGeom>
        <a:blipFill rotWithShape="0">
          <a:blip xmlns:r="http://schemas.openxmlformats.org/officeDocument/2006/relationships" r:embed="rId2"/>
          <a:srcRect/>
          <a:stretch>
            <a:fillRect/>
          </a:stretch>
        </a:blip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740" tIns="78740" rIns="78740" bIns="78740" numCol="1" spcCol="1270" anchor="ctr" anchorCtr="0">
          <a:noAutofit/>
        </a:bodyPr>
        <a:lstStyle/>
        <a:p>
          <a:pPr marL="0" lvl="0" indent="0" algn="ctr" defTabSz="2755900">
            <a:lnSpc>
              <a:spcPct val="90000"/>
            </a:lnSpc>
            <a:spcBef>
              <a:spcPct val="0"/>
            </a:spcBef>
            <a:spcAft>
              <a:spcPct val="35000"/>
            </a:spcAft>
            <a:buNone/>
          </a:pPr>
          <a:r>
            <a:rPr lang="en-GB" sz="6200" kern="1200" dirty="0"/>
            <a:t> </a:t>
          </a:r>
        </a:p>
      </dsp:txBody>
      <dsp:txXfrm>
        <a:off x="4526066" y="1497234"/>
        <a:ext cx="1027693" cy="1027693"/>
      </dsp:txXfrm>
    </dsp:sp>
    <dsp:sp modelId="{AB2C1938-72E3-4EC3-B04C-A2058F6B9D18}">
      <dsp:nvSpPr>
        <dsp:cNvPr id="0" name=""/>
        <dsp:cNvSpPr/>
      </dsp:nvSpPr>
      <dsp:spPr>
        <a:xfrm rot="6480000">
          <a:off x="4512994" y="2793112"/>
          <a:ext cx="386262" cy="49051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GB" sz="2100" kern="1200"/>
        </a:p>
      </dsp:txBody>
      <dsp:txXfrm rot="10800000">
        <a:off x="4588838" y="2836111"/>
        <a:ext cx="270383" cy="294308"/>
      </dsp:txXfrm>
    </dsp:sp>
    <dsp:sp modelId="{41189C13-F5E8-4553-9262-2B11AF605F0D}">
      <dsp:nvSpPr>
        <dsp:cNvPr id="0" name=""/>
        <dsp:cNvSpPr/>
      </dsp:nvSpPr>
      <dsp:spPr>
        <a:xfrm>
          <a:off x="3638894" y="3359763"/>
          <a:ext cx="1453377" cy="1453377"/>
        </a:xfrm>
        <a:prstGeom prst="ellipse">
          <a:avLst/>
        </a:prstGeom>
        <a:blipFill rotWithShape="0">
          <a:blip xmlns:r="http://schemas.openxmlformats.org/officeDocument/2006/relationships" r:embed="rId3"/>
          <a:srcRect/>
          <a:stretch>
            <a:fillRect/>
          </a:stretch>
        </a:blip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740" tIns="78740" rIns="78740" bIns="78740" numCol="1" spcCol="1270" anchor="ctr" anchorCtr="0">
          <a:noAutofit/>
        </a:bodyPr>
        <a:lstStyle/>
        <a:p>
          <a:pPr marL="0" lvl="0" indent="0" algn="ctr" defTabSz="2755900">
            <a:lnSpc>
              <a:spcPct val="90000"/>
            </a:lnSpc>
            <a:spcBef>
              <a:spcPct val="0"/>
            </a:spcBef>
            <a:spcAft>
              <a:spcPct val="35000"/>
            </a:spcAft>
            <a:buNone/>
          </a:pPr>
          <a:r>
            <a:rPr lang="en-GB" sz="6200" kern="1200" dirty="0"/>
            <a:t> </a:t>
          </a:r>
        </a:p>
      </dsp:txBody>
      <dsp:txXfrm>
        <a:off x="3851736" y="3572605"/>
        <a:ext cx="1027693" cy="1027693"/>
      </dsp:txXfrm>
    </dsp:sp>
    <dsp:sp modelId="{D3366DDC-9604-441C-8D92-03E81E098F13}">
      <dsp:nvSpPr>
        <dsp:cNvPr id="0" name=""/>
        <dsp:cNvSpPr/>
      </dsp:nvSpPr>
      <dsp:spPr>
        <a:xfrm rot="10800000">
          <a:off x="3092296" y="3841195"/>
          <a:ext cx="386262" cy="49051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GB" sz="2100" kern="1200"/>
        </a:p>
      </dsp:txBody>
      <dsp:txXfrm rot="10800000">
        <a:off x="3208175" y="3939298"/>
        <a:ext cx="270383" cy="294308"/>
      </dsp:txXfrm>
    </dsp:sp>
    <dsp:sp modelId="{5929EA8F-F0D9-4DF2-95BA-EFB627CA8C22}">
      <dsp:nvSpPr>
        <dsp:cNvPr id="0" name=""/>
        <dsp:cNvSpPr/>
      </dsp:nvSpPr>
      <dsp:spPr>
        <a:xfrm>
          <a:off x="1456719" y="3359763"/>
          <a:ext cx="1453377" cy="1453377"/>
        </a:xfrm>
        <a:prstGeom prst="ellipse">
          <a:avLst/>
        </a:prstGeom>
        <a:blipFill rotWithShape="0">
          <a:blip xmlns:r="http://schemas.openxmlformats.org/officeDocument/2006/relationships" r:embed="rId4"/>
          <a:srcRect/>
          <a:stretch>
            <a:fillRect/>
          </a:stretch>
        </a:blip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740" tIns="78740" rIns="78740" bIns="78740" numCol="1" spcCol="1270" anchor="ctr" anchorCtr="0">
          <a:noAutofit/>
        </a:bodyPr>
        <a:lstStyle/>
        <a:p>
          <a:pPr marL="0" lvl="0" indent="0" algn="ctr" defTabSz="2755900">
            <a:lnSpc>
              <a:spcPct val="90000"/>
            </a:lnSpc>
            <a:spcBef>
              <a:spcPct val="0"/>
            </a:spcBef>
            <a:spcAft>
              <a:spcPct val="35000"/>
            </a:spcAft>
            <a:buNone/>
          </a:pPr>
          <a:r>
            <a:rPr lang="en-GB" sz="6200" kern="1200" dirty="0"/>
            <a:t> </a:t>
          </a:r>
        </a:p>
      </dsp:txBody>
      <dsp:txXfrm>
        <a:off x="1669561" y="3572605"/>
        <a:ext cx="1027693" cy="1027693"/>
      </dsp:txXfrm>
    </dsp:sp>
    <dsp:sp modelId="{09960E58-599A-419E-98E9-3C9D73874FB8}">
      <dsp:nvSpPr>
        <dsp:cNvPr id="0" name=""/>
        <dsp:cNvSpPr/>
      </dsp:nvSpPr>
      <dsp:spPr>
        <a:xfrm rot="15120000">
          <a:off x="1656490" y="2813906"/>
          <a:ext cx="386262" cy="49051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GB" sz="2100" kern="1200"/>
        </a:p>
      </dsp:txBody>
      <dsp:txXfrm rot="10800000">
        <a:off x="1732334" y="2967113"/>
        <a:ext cx="270383" cy="294308"/>
      </dsp:txXfrm>
    </dsp:sp>
    <dsp:sp modelId="{BCF60CD1-3D70-4839-80E3-3D0D1FA00AC5}">
      <dsp:nvSpPr>
        <dsp:cNvPr id="0" name=""/>
        <dsp:cNvSpPr/>
      </dsp:nvSpPr>
      <dsp:spPr>
        <a:xfrm>
          <a:off x="782390" y="1284392"/>
          <a:ext cx="1453377" cy="1453377"/>
        </a:xfrm>
        <a:prstGeom prst="ellipse">
          <a:avLst/>
        </a:prstGeom>
        <a:blipFill rotWithShape="0">
          <a:blip xmlns:r="http://schemas.openxmlformats.org/officeDocument/2006/relationships" r:embed="rId5"/>
          <a:srcRect/>
          <a:stretch>
            <a:fillRect/>
          </a:stretch>
        </a:blip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740" tIns="78740" rIns="78740" bIns="78740" numCol="1" spcCol="1270" anchor="ctr" anchorCtr="0">
          <a:noAutofit/>
        </a:bodyPr>
        <a:lstStyle/>
        <a:p>
          <a:pPr marL="0" lvl="0" indent="0" algn="ctr" defTabSz="2755900">
            <a:lnSpc>
              <a:spcPct val="90000"/>
            </a:lnSpc>
            <a:spcBef>
              <a:spcPct val="0"/>
            </a:spcBef>
            <a:spcAft>
              <a:spcPct val="35000"/>
            </a:spcAft>
            <a:buNone/>
          </a:pPr>
          <a:r>
            <a:rPr lang="en-GB" sz="6200" kern="1200" dirty="0"/>
            <a:t> </a:t>
          </a:r>
        </a:p>
      </dsp:txBody>
      <dsp:txXfrm>
        <a:off x="995232" y="1497234"/>
        <a:ext cx="1027693" cy="1027693"/>
      </dsp:txXfrm>
    </dsp:sp>
    <dsp:sp modelId="{493DE7D4-D45D-4118-AA57-99D89BA01267}">
      <dsp:nvSpPr>
        <dsp:cNvPr id="0" name=""/>
        <dsp:cNvSpPr/>
      </dsp:nvSpPr>
      <dsp:spPr>
        <a:xfrm rot="19440000">
          <a:off x="2189812" y="1130923"/>
          <a:ext cx="386262" cy="49051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GB" sz="2100" kern="1200"/>
        </a:p>
      </dsp:txBody>
      <dsp:txXfrm>
        <a:off x="2200877" y="1263082"/>
        <a:ext cx="270383" cy="294308"/>
      </dsp:txXfrm>
    </dsp:sp>
  </dsp:spTree>
</dsp:drawing>
</file>

<file path=ppt/diagrams/layout1.xml><?xml version="1.0" encoding="utf-8"?>
<dgm:layoutDef xmlns:dgm="http://schemas.openxmlformats.org/drawingml/2006/diagram" xmlns:a="http://schemas.openxmlformats.org/drawingml/2006/main" uniqueId="urn:microsoft.com/office/officeart/2008/layout/BendingPictureBlocks">
  <dgm:title val=""/>
  <dgm:desc val=""/>
  <dgm:catLst>
    <dgm:cat type="picture" pri="8000"/>
    <dgm:cat type="pictureconvert" pri="8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61"/>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908"/>
        </dgm:alg>
        <dgm:shape xmlns:r="http://schemas.openxmlformats.org/officeDocument/2006/relationships" r:blip="">
          <dgm:adjLst/>
        </dgm:shape>
        <dgm:choose name="Name4">
          <dgm:if name="Name5" func="var" arg="dir" op="equ" val="norm">
            <dgm:constrLst>
              <dgm:constr type="l" for="ch" forName="rect1" refType="w" fact="0.3"/>
              <dgm:constr type="t" for="ch" forName="rect1" refType="h" fact="0"/>
              <dgm:constr type="w" for="ch" forName="rect1" refType="h" fact="1.12"/>
              <dgm:constr type="h" for="ch" forName="rect1" refType="h" fact="0.942"/>
              <dgm:constr type="l" for="ch" forName="rect2" refType="w" fact="0"/>
              <dgm:constr type="t" for="ch" forName="rect2" refType="h" fact="0.396"/>
              <dgm:constr type="w" for="ch" forName="rect2" refType="h" fact="0.607"/>
              <dgm:constr type="h" for="ch" forName="rect2" refType="h" fact="0.607"/>
            </dgm:constrLst>
          </dgm:if>
          <dgm:else name="Name6">
            <dgm:constrLst>
              <dgm:constr type="l" for="ch" forName="rect1" refType="w" fact="0"/>
              <dgm:constr type="t" for="ch" forName="rect1" refType="h" fact="0"/>
              <dgm:constr type="w" for="ch" forName="rect1" refType="h" fact="1.12"/>
              <dgm:constr type="h" for="ch" forName="rect1" refType="h" fact="0.942"/>
              <dgm:constr type="l" for="ch" forName="rect2" refType="w" fact="0.63"/>
              <dgm:constr type="t" for="ch" forName="rect2" refType="h" fact="0.396"/>
              <dgm:constr type="w" for="ch" forName="rect2" refType="h" fact="0.607"/>
              <dgm:constr type="h" for="ch" forName="rect2" refType="h" fact="0.607"/>
            </dgm:constrLst>
          </dgm:else>
        </dgm:choose>
        <dgm:layoutNode name="rect1" styleLbl="bgImgPlace1">
          <dgm:alg type="sp"/>
          <dgm:shape xmlns:r="http://schemas.openxmlformats.org/officeDocument/2006/relationships" type="rect" r:blip="" blipPhldr="1">
            <dgm:adjLst/>
          </dgm:shape>
          <dgm:presOf/>
        </dgm:layoutNode>
        <dgm:layoutNode name="rect2" styleLbl="node1">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99AD38-72A7-5642-95BC-8B2101066E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C40F4E6-5DD2-4B42-B35D-ABC08A34506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3FC78AC-08B8-774B-85CE-FAE0DC48D552}" type="datetimeFigureOut">
              <a:rPr lang="en-US" smtClean="0"/>
              <a:t>2/20/2024</a:t>
            </a:fld>
            <a:endParaRPr lang="en-US"/>
          </a:p>
        </p:txBody>
      </p:sp>
      <p:sp>
        <p:nvSpPr>
          <p:cNvPr id="4" name="Footer Placeholder 3">
            <a:extLst>
              <a:ext uri="{FF2B5EF4-FFF2-40B4-BE49-F238E27FC236}">
                <a16:creationId xmlns:a16="http://schemas.microsoft.com/office/drawing/2014/main" id="{D9446A3A-C7EE-1640-A549-48B6FDD6411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D3695E1-9694-A34D-9FE4-68610E15E55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367F108-78CB-DB42-9745-E24E9EF48A4A}" type="slidenum">
              <a:rPr lang="en-US" smtClean="0"/>
              <a:t>‹#›</a:t>
            </a:fld>
            <a:endParaRPr lang="en-US"/>
          </a:p>
        </p:txBody>
      </p:sp>
    </p:spTree>
    <p:extLst>
      <p:ext uri="{BB962C8B-B14F-4D97-AF65-F5344CB8AC3E}">
        <p14:creationId xmlns:p14="http://schemas.microsoft.com/office/powerpoint/2010/main" val="29750371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2DF24E-AD7B-FF41-A0DE-0EC152D10509}" type="datetimeFigureOut">
              <a:rPr lang="en-US" smtClean="0"/>
              <a:t>2/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E37A0A-5C37-4343-848E-1647AEFD0750}" type="slidenum">
              <a:rPr lang="en-US" smtClean="0"/>
              <a:t>‹#›</a:t>
            </a:fld>
            <a:endParaRPr lang="en-US"/>
          </a:p>
        </p:txBody>
      </p:sp>
    </p:spTree>
    <p:extLst>
      <p:ext uri="{BB962C8B-B14F-4D97-AF65-F5344CB8AC3E}">
        <p14:creationId xmlns:p14="http://schemas.microsoft.com/office/powerpoint/2010/main" val="39840614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JFPR = Japan Fund for Prosperous &amp; Resilient Asia and the Pacific</a:t>
            </a:r>
          </a:p>
          <a:p>
            <a:r>
              <a:rPr lang="en-GB" dirty="0"/>
              <a:t>ADB = Asian Development Bank</a:t>
            </a:r>
          </a:p>
        </p:txBody>
      </p:sp>
      <p:sp>
        <p:nvSpPr>
          <p:cNvPr id="4" name="Slide Number Placeholder 3"/>
          <p:cNvSpPr>
            <a:spLocks noGrp="1"/>
          </p:cNvSpPr>
          <p:nvPr>
            <p:ph type="sldNum" sz="quarter" idx="5"/>
          </p:nvPr>
        </p:nvSpPr>
        <p:spPr/>
        <p:txBody>
          <a:bodyPr/>
          <a:lstStyle/>
          <a:p>
            <a:fld id="{EFE37A0A-5C37-4343-848E-1647AEFD0750}" type="slidenum">
              <a:rPr lang="en-US" smtClean="0"/>
              <a:t>4</a:t>
            </a:fld>
            <a:endParaRPr lang="en-US"/>
          </a:p>
        </p:txBody>
      </p:sp>
    </p:spTree>
    <p:extLst>
      <p:ext uri="{BB962C8B-B14F-4D97-AF65-F5344CB8AC3E}">
        <p14:creationId xmlns:p14="http://schemas.microsoft.com/office/powerpoint/2010/main" val="23030994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7945" marR="197485">
              <a:lnSpc>
                <a:spcPct val="97000"/>
              </a:lnSpc>
              <a:spcBef>
                <a:spcPts val="5"/>
              </a:spcBef>
              <a:spcAft>
                <a:spcPts val="0"/>
              </a:spcAft>
            </a:pPr>
            <a:endParaRPr lang="en-GB" dirty="0"/>
          </a:p>
        </p:txBody>
      </p:sp>
      <p:sp>
        <p:nvSpPr>
          <p:cNvPr id="4" name="Slide Number Placeholder 3"/>
          <p:cNvSpPr>
            <a:spLocks noGrp="1"/>
          </p:cNvSpPr>
          <p:nvPr>
            <p:ph type="sldNum" sz="quarter" idx="5"/>
          </p:nvPr>
        </p:nvSpPr>
        <p:spPr/>
        <p:txBody>
          <a:bodyPr/>
          <a:lstStyle/>
          <a:p>
            <a:fld id="{EFE37A0A-5C37-4343-848E-1647AEFD0750}" type="slidenum">
              <a:rPr lang="en-US" smtClean="0"/>
              <a:t>33</a:t>
            </a:fld>
            <a:endParaRPr lang="en-US"/>
          </a:p>
        </p:txBody>
      </p:sp>
    </p:spTree>
    <p:extLst>
      <p:ext uri="{BB962C8B-B14F-4D97-AF65-F5344CB8AC3E}">
        <p14:creationId xmlns:p14="http://schemas.microsoft.com/office/powerpoint/2010/main" val="28393274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ntroduction to the team and the project</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p>
            <a:pPr>
              <a:lnSpc>
                <a:spcPct val="107000"/>
              </a:lnSpc>
              <a:spcAft>
                <a:spcPts val="800"/>
              </a:spcAft>
            </a:pPr>
            <a:r>
              <a:rPr lang="en-GB" sz="1800" b="1" dirty="0">
                <a:effectLst/>
                <a:latin typeface="Calibri" panose="020F0502020204030204" pitchFamily="34" charset="0"/>
                <a:ea typeface="Calibri" panose="020F0502020204030204" pitchFamily="34" charset="0"/>
                <a:cs typeface="Calibri" panose="020F0502020204030204" pitchFamily="34" charset="0"/>
              </a:rPr>
              <a:t>Food waste – what it is and why it is important</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p>
            <a:pPr>
              <a:lnSpc>
                <a:spcPct val="107000"/>
              </a:lnSpc>
              <a:spcAft>
                <a:spcPts val="800"/>
              </a:spcAft>
            </a:pPr>
            <a:r>
              <a:rPr lang="en-GB"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Food waste</a:t>
            </a:r>
          </a:p>
          <a:p>
            <a:pPr>
              <a:lnSpc>
                <a:spcPct val="107000"/>
              </a:lnSpc>
              <a:spcAft>
                <a:spcPts val="800"/>
              </a:spcAft>
            </a:pPr>
            <a:r>
              <a:rPr lang="en-GB"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omposting principles</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p>
            <a:pPr>
              <a:lnSpc>
                <a:spcPct val="107000"/>
              </a:lnSpc>
              <a:spcAft>
                <a:spcPts val="800"/>
              </a:spcAft>
            </a:pPr>
            <a:r>
              <a:rPr lang="en-GB" sz="1800" b="1" dirty="0">
                <a:effectLst/>
                <a:latin typeface="Calibri" panose="020F0502020204030204" pitchFamily="34" charset="0"/>
                <a:ea typeface="Calibri" panose="020F0502020204030204" pitchFamily="34" charset="0"/>
                <a:cs typeface="Calibri" panose="020F0502020204030204" pitchFamily="34" charset="0"/>
              </a:rPr>
              <a:t>How to compost using the modular boxes</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p>
            <a:pPr>
              <a:lnSpc>
                <a:spcPct val="107000"/>
              </a:lnSpc>
              <a:spcAft>
                <a:spcPts val="800"/>
              </a:spcAft>
            </a:pPr>
            <a:r>
              <a:rPr lang="en-GB"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How to use compost</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p>
            <a:pPr>
              <a:lnSpc>
                <a:spcPct val="107000"/>
              </a:lnSpc>
              <a:spcAft>
                <a:spcPts val="800"/>
              </a:spcAft>
            </a:pPr>
            <a:r>
              <a:rPr lang="en-GB" sz="1800" b="1" dirty="0">
                <a:effectLst/>
                <a:latin typeface="Calibri" panose="020F0502020204030204" pitchFamily="34" charset="0"/>
                <a:ea typeface="Calibri" panose="020F0502020204030204" pitchFamily="34" charset="0"/>
                <a:cs typeface="Calibri" panose="020F0502020204030204" pitchFamily="34" charset="0"/>
              </a:rPr>
              <a:t>Health and safety</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p>
            <a:pPr>
              <a:lnSpc>
                <a:spcPct val="107000"/>
              </a:lnSpc>
              <a:spcAft>
                <a:spcPts val="800"/>
              </a:spcAft>
            </a:pPr>
            <a:r>
              <a:rPr lang="en-GB"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roubleshooting</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p>
            <a:pPr>
              <a:lnSpc>
                <a:spcPct val="107000"/>
              </a:lnSpc>
              <a:spcAft>
                <a:spcPts val="800"/>
              </a:spcAft>
            </a:pPr>
            <a:r>
              <a:rPr lang="en-GB" sz="1800" b="1" dirty="0">
                <a:effectLst/>
                <a:latin typeface="Calibri" panose="020F0502020204030204" pitchFamily="34" charset="0"/>
                <a:ea typeface="Calibri" panose="020F0502020204030204" pitchFamily="34" charset="0"/>
                <a:cs typeface="Calibri" panose="020F0502020204030204" pitchFamily="34" charset="0"/>
              </a:rPr>
              <a:t>Questions &amp; answers</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p>
            <a:endParaRPr lang="en-GB" dirty="0"/>
          </a:p>
        </p:txBody>
      </p:sp>
      <p:sp>
        <p:nvSpPr>
          <p:cNvPr id="4" name="Slide Number Placeholder 3"/>
          <p:cNvSpPr>
            <a:spLocks noGrp="1"/>
          </p:cNvSpPr>
          <p:nvPr>
            <p:ph type="sldNum" sz="quarter" idx="5"/>
          </p:nvPr>
        </p:nvSpPr>
        <p:spPr/>
        <p:txBody>
          <a:bodyPr/>
          <a:lstStyle/>
          <a:p>
            <a:fld id="{EFE37A0A-5C37-4343-848E-1647AEFD0750}" type="slidenum">
              <a:rPr lang="en-US" smtClean="0"/>
              <a:t>6</a:t>
            </a:fld>
            <a:endParaRPr lang="en-US"/>
          </a:p>
        </p:txBody>
      </p:sp>
    </p:spTree>
    <p:extLst>
      <p:ext uri="{BB962C8B-B14F-4D97-AF65-F5344CB8AC3E}">
        <p14:creationId xmlns:p14="http://schemas.microsoft.com/office/powerpoint/2010/main" val="42574454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FE37A0A-5C37-4343-848E-1647AEFD0750}" type="slidenum">
              <a:rPr lang="en-US" smtClean="0"/>
              <a:t>7</a:t>
            </a:fld>
            <a:endParaRPr lang="en-US"/>
          </a:p>
        </p:txBody>
      </p:sp>
    </p:spTree>
    <p:extLst>
      <p:ext uri="{BB962C8B-B14F-4D97-AF65-F5344CB8AC3E}">
        <p14:creationId xmlns:p14="http://schemas.microsoft.com/office/powerpoint/2010/main" val="3893896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www.youtube.com/watch?v=IoCVrkcaH6Q</a:t>
            </a:r>
          </a:p>
          <a:p>
            <a:r>
              <a:rPr lang="en-GB" dirty="0"/>
              <a:t>Stop at 3.15</a:t>
            </a:r>
          </a:p>
        </p:txBody>
      </p:sp>
      <p:sp>
        <p:nvSpPr>
          <p:cNvPr id="4" name="Slide Number Placeholder 3"/>
          <p:cNvSpPr>
            <a:spLocks noGrp="1"/>
          </p:cNvSpPr>
          <p:nvPr>
            <p:ph type="sldNum" sz="quarter" idx="5"/>
          </p:nvPr>
        </p:nvSpPr>
        <p:spPr/>
        <p:txBody>
          <a:bodyPr/>
          <a:lstStyle/>
          <a:p>
            <a:fld id="{EFE37A0A-5C37-4343-848E-1647AEFD0750}" type="slidenum">
              <a:rPr lang="en-US" smtClean="0"/>
              <a:t>15</a:t>
            </a:fld>
            <a:endParaRPr lang="en-US"/>
          </a:p>
        </p:txBody>
      </p:sp>
    </p:spTree>
    <p:extLst>
      <p:ext uri="{BB962C8B-B14F-4D97-AF65-F5344CB8AC3E}">
        <p14:creationId xmlns:p14="http://schemas.microsoft.com/office/powerpoint/2010/main" val="1383066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news.un.org/en/story/2022/10/1129887</a:t>
            </a:r>
          </a:p>
        </p:txBody>
      </p:sp>
      <p:sp>
        <p:nvSpPr>
          <p:cNvPr id="4" name="Slide Number Placeholder 3"/>
          <p:cNvSpPr>
            <a:spLocks noGrp="1"/>
          </p:cNvSpPr>
          <p:nvPr>
            <p:ph type="sldNum" sz="quarter" idx="5"/>
          </p:nvPr>
        </p:nvSpPr>
        <p:spPr/>
        <p:txBody>
          <a:bodyPr/>
          <a:lstStyle/>
          <a:p>
            <a:fld id="{EFE37A0A-5C37-4343-848E-1647AEFD0750}" type="slidenum">
              <a:rPr lang="en-US" smtClean="0"/>
              <a:t>17</a:t>
            </a:fld>
            <a:endParaRPr lang="en-US"/>
          </a:p>
        </p:txBody>
      </p:sp>
    </p:spTree>
    <p:extLst>
      <p:ext uri="{BB962C8B-B14F-4D97-AF65-F5344CB8AC3E}">
        <p14:creationId xmlns:p14="http://schemas.microsoft.com/office/powerpoint/2010/main" val="28934290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7945" marR="197485">
              <a:lnSpc>
                <a:spcPct val="97000"/>
              </a:lnSpc>
              <a:spcBef>
                <a:spcPts val="5"/>
              </a:spcBef>
              <a:spcAft>
                <a:spcPts val="0"/>
              </a:spcAft>
            </a:pPr>
            <a:r>
              <a:rPr lang="en-US" sz="1800" spc="-10" dirty="0">
                <a:solidFill>
                  <a:srgbClr val="39B54A"/>
                </a:solidFill>
                <a:effectLst/>
                <a:latin typeface="Calibri" panose="020F0502020204030204" pitchFamily="34" charset="0"/>
                <a:ea typeface="Calibri" panose="020F0502020204030204" pitchFamily="34" charset="0"/>
              </a:rPr>
              <a:t>Entities:</a:t>
            </a:r>
            <a:r>
              <a:rPr lang="en-US" sz="1800" spc="-25" dirty="0">
                <a:solidFill>
                  <a:srgbClr val="39B54A"/>
                </a:solidFill>
                <a:effectLst/>
                <a:latin typeface="Calibri" panose="020F0502020204030204" pitchFamily="34" charset="0"/>
                <a:ea typeface="Calibri" panose="020F0502020204030204" pitchFamily="34" charset="0"/>
              </a:rPr>
              <a:t> </a:t>
            </a:r>
            <a:r>
              <a:rPr lang="en-US" sz="1800" spc="-10" dirty="0">
                <a:effectLst/>
                <a:latin typeface="Calibri" panose="020F0502020204030204" pitchFamily="34" charset="0"/>
                <a:ea typeface="Calibri" panose="020F0502020204030204" pitchFamily="34" charset="0"/>
              </a:rPr>
              <a:t>food</a:t>
            </a:r>
            <a:r>
              <a:rPr lang="en-US" sz="1800" spc="-25" dirty="0">
                <a:effectLst/>
                <a:latin typeface="Calibri" panose="020F0502020204030204" pitchFamily="34" charset="0"/>
                <a:ea typeface="Calibri" panose="020F0502020204030204" pitchFamily="34" charset="0"/>
              </a:rPr>
              <a:t> </a:t>
            </a:r>
            <a:r>
              <a:rPr lang="en-US" sz="1800" spc="-10" dirty="0">
                <a:effectLst/>
                <a:latin typeface="Calibri" panose="020F0502020204030204" pitchFamily="34" charset="0"/>
                <a:ea typeface="Calibri" panose="020F0502020204030204" pitchFamily="34" charset="0"/>
              </a:rPr>
              <a:t>market</a:t>
            </a:r>
            <a:r>
              <a:rPr lang="en-US" sz="1800" dirty="0">
                <a:effectLst/>
                <a:latin typeface="Calibri" panose="020F0502020204030204" pitchFamily="34" charset="0"/>
                <a:ea typeface="Calibri" panose="020F0502020204030204" pitchFamily="34" charset="0"/>
              </a:rPr>
              <a:t> stalls,</a:t>
            </a:r>
            <a:r>
              <a:rPr lang="en-US" sz="1800" spc="-25" dirty="0">
                <a:effectLst/>
                <a:latin typeface="Calibri" panose="020F0502020204030204" pitchFamily="34" charset="0"/>
                <a:ea typeface="Calibri" panose="020F0502020204030204" pitchFamily="34" charset="0"/>
              </a:rPr>
              <a:t> </a:t>
            </a:r>
            <a:r>
              <a:rPr lang="en-US" sz="1800" dirty="0">
                <a:effectLst/>
                <a:latin typeface="Calibri" panose="020F0502020204030204" pitchFamily="34" charset="0"/>
                <a:ea typeface="Calibri" panose="020F0502020204030204" pitchFamily="34" charset="0"/>
              </a:rPr>
              <a:t>restaurants, fast food outlets,</a:t>
            </a:r>
            <a:endParaRPr lang="en-GB" sz="1800" dirty="0">
              <a:effectLst/>
              <a:latin typeface="Calibri" panose="020F0502020204030204" pitchFamily="34" charset="0"/>
              <a:ea typeface="Calibri" panose="020F0502020204030204" pitchFamily="34" charset="0"/>
            </a:endParaRPr>
          </a:p>
          <a:p>
            <a:r>
              <a:rPr lang="en-US" sz="1800" spc="-10" dirty="0">
                <a:effectLst/>
                <a:latin typeface="Arial" panose="020B0604020202020204" pitchFamily="34" charset="0"/>
                <a:ea typeface="Arial" panose="020B0604020202020204" pitchFamily="34" charset="0"/>
              </a:rPr>
              <a:t>grocery</a:t>
            </a:r>
            <a:r>
              <a:rPr lang="en-US" sz="1800" spc="-40" dirty="0">
                <a:effectLst/>
                <a:latin typeface="Arial" panose="020B0604020202020204" pitchFamily="34" charset="0"/>
                <a:ea typeface="Arial" panose="020B0604020202020204" pitchFamily="34" charset="0"/>
              </a:rPr>
              <a:t> </a:t>
            </a:r>
            <a:r>
              <a:rPr lang="en-US" sz="1800" spc="-10" dirty="0">
                <a:effectLst/>
                <a:latin typeface="Arial" panose="020B0604020202020204" pitchFamily="34" charset="0"/>
                <a:ea typeface="Arial" panose="020B0604020202020204" pitchFamily="34" charset="0"/>
              </a:rPr>
              <a:t>stores,</a:t>
            </a:r>
            <a:r>
              <a:rPr lang="en-US" sz="1800" spc="-35" dirty="0">
                <a:effectLst/>
                <a:latin typeface="Arial" panose="020B0604020202020204" pitchFamily="34" charset="0"/>
                <a:ea typeface="Arial" panose="020B0604020202020204" pitchFamily="34" charset="0"/>
              </a:rPr>
              <a:t> </a:t>
            </a:r>
            <a:r>
              <a:rPr lang="en-US" sz="1800" spc="-10" dirty="0">
                <a:effectLst/>
                <a:latin typeface="Arial" panose="020B0604020202020204" pitchFamily="34" charset="0"/>
                <a:ea typeface="Arial" panose="020B0604020202020204" pitchFamily="34" charset="0"/>
              </a:rPr>
              <a:t>schools, </a:t>
            </a:r>
            <a:r>
              <a:rPr lang="en-US" sz="1800" dirty="0">
                <a:effectLst/>
                <a:latin typeface="Arial" panose="020B0604020202020204" pitchFamily="34" charset="0"/>
                <a:ea typeface="Arial" panose="020B0604020202020204" pitchFamily="34" charset="0"/>
              </a:rPr>
              <a:t>kindergartens</a:t>
            </a:r>
            <a:endParaRPr lang="en-GB" dirty="0"/>
          </a:p>
        </p:txBody>
      </p:sp>
      <p:sp>
        <p:nvSpPr>
          <p:cNvPr id="4" name="Slide Number Placeholder 3"/>
          <p:cNvSpPr>
            <a:spLocks noGrp="1"/>
          </p:cNvSpPr>
          <p:nvPr>
            <p:ph type="sldNum" sz="quarter" idx="5"/>
          </p:nvPr>
        </p:nvSpPr>
        <p:spPr/>
        <p:txBody>
          <a:bodyPr/>
          <a:lstStyle/>
          <a:p>
            <a:fld id="{EFE37A0A-5C37-4343-848E-1647AEFD0750}" type="slidenum">
              <a:rPr lang="en-US" smtClean="0"/>
              <a:t>21</a:t>
            </a:fld>
            <a:endParaRPr lang="en-US"/>
          </a:p>
        </p:txBody>
      </p:sp>
    </p:spTree>
    <p:extLst>
      <p:ext uri="{BB962C8B-B14F-4D97-AF65-F5344CB8AC3E}">
        <p14:creationId xmlns:p14="http://schemas.microsoft.com/office/powerpoint/2010/main" val="37745201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www.worlddata.info/average-bodyheight.php</a:t>
            </a:r>
          </a:p>
          <a:p>
            <a:r>
              <a:rPr lang="nn-NO" dirty="0"/>
              <a:t> Male = 74.7 kg Female = 67.8 kg Average = 71.3 kg</a:t>
            </a:r>
            <a:endParaRPr lang="en-GB" dirty="0"/>
          </a:p>
        </p:txBody>
      </p:sp>
      <p:sp>
        <p:nvSpPr>
          <p:cNvPr id="4" name="Slide Number Placeholder 3"/>
          <p:cNvSpPr>
            <a:spLocks noGrp="1"/>
          </p:cNvSpPr>
          <p:nvPr>
            <p:ph type="sldNum" sz="quarter" idx="5"/>
          </p:nvPr>
        </p:nvSpPr>
        <p:spPr/>
        <p:txBody>
          <a:bodyPr/>
          <a:lstStyle/>
          <a:p>
            <a:fld id="{EFE37A0A-5C37-4343-848E-1647AEFD0750}" type="slidenum">
              <a:rPr lang="en-US" smtClean="0"/>
              <a:t>23</a:t>
            </a:fld>
            <a:endParaRPr lang="en-US"/>
          </a:p>
        </p:txBody>
      </p:sp>
    </p:spTree>
    <p:extLst>
      <p:ext uri="{BB962C8B-B14F-4D97-AF65-F5344CB8AC3E}">
        <p14:creationId xmlns:p14="http://schemas.microsoft.com/office/powerpoint/2010/main" val="802596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ines = standard errors</a:t>
            </a:r>
          </a:p>
        </p:txBody>
      </p:sp>
      <p:sp>
        <p:nvSpPr>
          <p:cNvPr id="4" name="Slide Number Placeholder 3"/>
          <p:cNvSpPr>
            <a:spLocks noGrp="1"/>
          </p:cNvSpPr>
          <p:nvPr>
            <p:ph type="sldNum" sz="quarter" idx="5"/>
          </p:nvPr>
        </p:nvSpPr>
        <p:spPr/>
        <p:txBody>
          <a:bodyPr/>
          <a:lstStyle/>
          <a:p>
            <a:fld id="{EFE37A0A-5C37-4343-848E-1647AEFD0750}" type="slidenum">
              <a:rPr lang="en-US" smtClean="0"/>
              <a:t>25</a:t>
            </a:fld>
            <a:endParaRPr lang="en-US"/>
          </a:p>
        </p:txBody>
      </p:sp>
    </p:spTree>
    <p:extLst>
      <p:ext uri="{BB962C8B-B14F-4D97-AF65-F5344CB8AC3E}">
        <p14:creationId xmlns:p14="http://schemas.microsoft.com/office/powerpoint/2010/main" val="33526664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LOT!</a:t>
            </a:r>
          </a:p>
          <a:p>
            <a:r>
              <a:rPr lang="en-GB" dirty="0"/>
              <a:t>https://www.themeasureofthings.com/results.php?comp=weight&amp;unit=tnsm&amp;amt=32000&amp;p=2</a:t>
            </a:r>
          </a:p>
        </p:txBody>
      </p:sp>
      <p:sp>
        <p:nvSpPr>
          <p:cNvPr id="4" name="Slide Number Placeholder 3"/>
          <p:cNvSpPr>
            <a:spLocks noGrp="1"/>
          </p:cNvSpPr>
          <p:nvPr>
            <p:ph type="sldNum" sz="quarter" idx="5"/>
          </p:nvPr>
        </p:nvSpPr>
        <p:spPr/>
        <p:txBody>
          <a:bodyPr/>
          <a:lstStyle/>
          <a:p>
            <a:fld id="{EFE37A0A-5C37-4343-848E-1647AEFD0750}" type="slidenum">
              <a:rPr lang="en-US" smtClean="0"/>
              <a:t>32</a:t>
            </a:fld>
            <a:endParaRPr lang="en-US"/>
          </a:p>
        </p:txBody>
      </p:sp>
    </p:spTree>
    <p:extLst>
      <p:ext uri="{BB962C8B-B14F-4D97-AF65-F5344CB8AC3E}">
        <p14:creationId xmlns:p14="http://schemas.microsoft.com/office/powerpoint/2010/main" val="13731345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2.jpeg"/><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2.jpeg"/><Relationship Id="rId4"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2.jpeg"/><Relationship Id="rId4"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10.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12.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SI 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4684952-94E4-5B46-8B85-5A5FB6C3EF84}"/>
              </a:ext>
            </a:extLst>
          </p:cNvPr>
          <p:cNvSpPr>
            <a:spLocks noGrp="1"/>
          </p:cNvSpPr>
          <p:nvPr>
            <p:ph type="pic" sz="quarter" idx="13" hasCustomPrompt="1"/>
          </p:nvPr>
        </p:nvSpPr>
        <p:spPr>
          <a:xfrm>
            <a:off x="0" y="0"/>
            <a:ext cx="12192000" cy="5238750"/>
          </a:xfrm>
        </p:spPr>
        <p:txBody>
          <a:bodyPr anchor="ctr" anchorCtr="0">
            <a:normAutofit/>
          </a:bodyPr>
          <a:lstStyle>
            <a:lvl1pPr marL="0" indent="0" algn="ctr">
              <a:buNone/>
              <a:defRPr sz="1400" baseline="0"/>
            </a:lvl1pPr>
          </a:lstStyle>
          <a:p>
            <a:r>
              <a:rPr lang="en-US"/>
              <a:t>Click icon to add background image</a:t>
            </a:r>
          </a:p>
        </p:txBody>
      </p:sp>
      <p:sp>
        <p:nvSpPr>
          <p:cNvPr id="2" name="Title 1"/>
          <p:cNvSpPr>
            <a:spLocks noGrp="1"/>
          </p:cNvSpPr>
          <p:nvPr>
            <p:ph type="ctrTitle" hasCustomPrompt="1"/>
          </p:nvPr>
        </p:nvSpPr>
        <p:spPr>
          <a:xfrm>
            <a:off x="360000" y="359999"/>
            <a:ext cx="10800000" cy="1512000"/>
          </a:xfrm>
        </p:spPr>
        <p:txBody>
          <a:bodyPr anchor="t" anchorCtr="0">
            <a:normAutofit/>
          </a:bodyPr>
          <a:lstStyle>
            <a:lvl1pPr algn="l">
              <a:defRPr sz="5500" baseline="0"/>
            </a:lvl1pPr>
          </a:lstStyle>
          <a:p>
            <a:r>
              <a:rPr lang="en-GB"/>
              <a:t>Click to edit Master title</a:t>
            </a:r>
            <a:br>
              <a:rPr lang="en-GB"/>
            </a:br>
            <a:endParaRPr lang="en-US"/>
          </a:p>
        </p:txBody>
      </p:sp>
      <p:sp>
        <p:nvSpPr>
          <p:cNvPr id="3" name="Subtitle 2"/>
          <p:cNvSpPr>
            <a:spLocks noGrp="1"/>
          </p:cNvSpPr>
          <p:nvPr>
            <p:ph type="subTitle" idx="1"/>
          </p:nvPr>
        </p:nvSpPr>
        <p:spPr>
          <a:xfrm>
            <a:off x="360000" y="1980000"/>
            <a:ext cx="10800000" cy="3600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grpSp>
        <p:nvGrpSpPr>
          <p:cNvPr id="10" name="Group 9">
            <a:extLst>
              <a:ext uri="{FF2B5EF4-FFF2-40B4-BE49-F238E27FC236}">
                <a16:creationId xmlns:a16="http://schemas.microsoft.com/office/drawing/2014/main" id="{70E5CC56-B315-5548-924D-8718F498CF8E}"/>
              </a:ext>
            </a:extLst>
          </p:cNvPr>
          <p:cNvGrpSpPr/>
          <p:nvPr userDrawn="1"/>
        </p:nvGrpSpPr>
        <p:grpSpPr>
          <a:xfrm>
            <a:off x="0" y="5238000"/>
            <a:ext cx="12192000" cy="1620000"/>
            <a:chOff x="0" y="5238000"/>
            <a:chExt cx="12192000" cy="1620000"/>
          </a:xfrm>
        </p:grpSpPr>
        <p:sp>
          <p:nvSpPr>
            <p:cNvPr id="5" name="Rectangle 4">
              <a:extLst>
                <a:ext uri="{FF2B5EF4-FFF2-40B4-BE49-F238E27FC236}">
                  <a16:creationId xmlns:a16="http://schemas.microsoft.com/office/drawing/2014/main" id="{7DC6A3DD-8443-ED4D-A65B-A4341F3A2381}"/>
                </a:ext>
              </a:extLst>
            </p:cNvPr>
            <p:cNvSpPr/>
            <p:nvPr userDrawn="1"/>
          </p:nvSpPr>
          <p:spPr>
            <a:xfrm>
              <a:off x="0" y="5238000"/>
              <a:ext cx="12192000" cy="1620000"/>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2BBC7145-6853-D744-9877-022780C249A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71162" y="5679487"/>
              <a:ext cx="837187" cy="818514"/>
            </a:xfrm>
            <a:prstGeom prst="rect">
              <a:avLst/>
            </a:prstGeom>
          </p:spPr>
        </p:pic>
        <p:pic>
          <p:nvPicPr>
            <p:cNvPr id="9" name="Picture 8" descr="A picture containing drawing&#10;&#10;Description automatically generated">
              <a:extLst>
                <a:ext uri="{FF2B5EF4-FFF2-40B4-BE49-F238E27FC236}">
                  <a16:creationId xmlns:a16="http://schemas.microsoft.com/office/drawing/2014/main" id="{F4D849C7-103E-D64C-89C9-E9C1176995F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7922" y="5551683"/>
              <a:ext cx="1488950" cy="992633"/>
            </a:xfrm>
            <a:prstGeom prst="rect">
              <a:avLst/>
            </a:prstGeom>
          </p:spPr>
        </p:pic>
      </p:grpSp>
      <p:sp>
        <p:nvSpPr>
          <p:cNvPr id="12" name="Text Placeholder 11">
            <a:extLst>
              <a:ext uri="{FF2B5EF4-FFF2-40B4-BE49-F238E27FC236}">
                <a16:creationId xmlns:a16="http://schemas.microsoft.com/office/drawing/2014/main" id="{B4C3EBD0-FE84-7C46-87AE-5EF408824CAC}"/>
              </a:ext>
            </a:extLst>
          </p:cNvPr>
          <p:cNvSpPr>
            <a:spLocks noGrp="1"/>
          </p:cNvSpPr>
          <p:nvPr>
            <p:ph type="body" sz="quarter" idx="10" hasCustomPrompt="1"/>
          </p:nvPr>
        </p:nvSpPr>
        <p:spPr>
          <a:xfrm>
            <a:off x="360000" y="5640402"/>
            <a:ext cx="7200000" cy="252000"/>
          </a:xfrm>
        </p:spPr>
        <p:txBody>
          <a:bodyPr>
            <a:normAutofit/>
          </a:bodyPr>
          <a:lstStyle>
            <a:lvl1pPr marL="0" indent="0">
              <a:buNone/>
              <a:defRPr sz="2130" spc="20" baseline="0"/>
            </a:lvl1pPr>
          </a:lstStyle>
          <a:p>
            <a:pPr lvl="0"/>
            <a:r>
              <a:rPr lang="en-US"/>
              <a:t>Presenter’s name</a:t>
            </a:r>
          </a:p>
        </p:txBody>
      </p:sp>
      <p:sp>
        <p:nvSpPr>
          <p:cNvPr id="14" name="Text Placeholder 13">
            <a:extLst>
              <a:ext uri="{FF2B5EF4-FFF2-40B4-BE49-F238E27FC236}">
                <a16:creationId xmlns:a16="http://schemas.microsoft.com/office/drawing/2014/main" id="{2FEBA216-1F0E-834E-A485-EE95D46B519E}"/>
              </a:ext>
            </a:extLst>
          </p:cNvPr>
          <p:cNvSpPr>
            <a:spLocks noGrp="1"/>
          </p:cNvSpPr>
          <p:nvPr>
            <p:ph type="body" sz="quarter" idx="11" hasCustomPrompt="1"/>
          </p:nvPr>
        </p:nvSpPr>
        <p:spPr>
          <a:xfrm>
            <a:off x="360000" y="5910612"/>
            <a:ext cx="7200000" cy="252000"/>
          </a:xfrm>
        </p:spPr>
        <p:txBody>
          <a:bodyPr>
            <a:normAutofit/>
          </a:bodyPr>
          <a:lstStyle>
            <a:lvl1pPr marL="0" indent="0">
              <a:buNone/>
              <a:defRPr sz="1400" spc="20" baseline="0"/>
            </a:lvl1pPr>
          </a:lstStyle>
          <a:p>
            <a:pPr lvl="0"/>
            <a:r>
              <a:rPr lang="en-US"/>
              <a:t>Job Title</a:t>
            </a:r>
          </a:p>
        </p:txBody>
      </p:sp>
      <p:sp>
        <p:nvSpPr>
          <p:cNvPr id="16" name="Text Placeholder 15">
            <a:extLst>
              <a:ext uri="{FF2B5EF4-FFF2-40B4-BE49-F238E27FC236}">
                <a16:creationId xmlns:a16="http://schemas.microsoft.com/office/drawing/2014/main" id="{6F5F372C-9096-C049-BCE9-EE57D879AB7E}"/>
              </a:ext>
            </a:extLst>
          </p:cNvPr>
          <p:cNvSpPr>
            <a:spLocks noGrp="1"/>
          </p:cNvSpPr>
          <p:nvPr>
            <p:ph type="body" sz="quarter" idx="12" hasCustomPrompt="1"/>
          </p:nvPr>
        </p:nvSpPr>
        <p:spPr>
          <a:xfrm>
            <a:off x="360000" y="6213516"/>
            <a:ext cx="7199999" cy="252000"/>
          </a:xfrm>
        </p:spPr>
        <p:txBody>
          <a:bodyPr>
            <a:normAutofit/>
          </a:bodyPr>
          <a:lstStyle>
            <a:lvl1pPr marL="0" indent="0">
              <a:buNone/>
              <a:defRPr sz="1000" spc="0" baseline="0"/>
            </a:lvl1pPr>
          </a:lstStyle>
          <a:p>
            <a:pPr lvl="0"/>
            <a:r>
              <a:rPr lang="en-US"/>
              <a:t>Date</a:t>
            </a:r>
          </a:p>
        </p:txBody>
      </p:sp>
      <p:sp>
        <p:nvSpPr>
          <p:cNvPr id="7" name="TextBox 6">
            <a:extLst>
              <a:ext uri="{FF2B5EF4-FFF2-40B4-BE49-F238E27FC236}">
                <a16:creationId xmlns:a16="http://schemas.microsoft.com/office/drawing/2014/main" id="{30E7B20E-D800-1B43-9B4B-DE4A6D2577B3}"/>
              </a:ext>
            </a:extLst>
          </p:cNvPr>
          <p:cNvSpPr txBox="1"/>
          <p:nvPr userDrawn="1"/>
        </p:nvSpPr>
        <p:spPr>
          <a:xfrm>
            <a:off x="360000" y="6544316"/>
            <a:ext cx="5400000" cy="92333"/>
          </a:xfrm>
          <a:prstGeom prst="rect">
            <a:avLst/>
          </a:prstGeom>
          <a:noFill/>
        </p:spPr>
        <p:txBody>
          <a:bodyPr wrap="square" lIns="0" tIns="0" rIns="0" bIns="0" rtlCol="0">
            <a:spAutoFit/>
          </a:bodyPr>
          <a:lstStyle/>
          <a:p>
            <a:r>
              <a:rPr lang="en-US" sz="600">
                <a:latin typeface="Tahoma" panose="020B0604030504040204" pitchFamily="34" charset="0"/>
                <a:ea typeface="Tahoma" panose="020B0604030504040204" pitchFamily="34" charset="0"/>
                <a:cs typeface="Tahoma" panose="020B0604030504040204" pitchFamily="34" charset="0"/>
              </a:rPr>
              <a:t>Copyright © 2020 BSI. All rights reserved</a:t>
            </a:r>
          </a:p>
        </p:txBody>
      </p:sp>
    </p:spTree>
    <p:extLst>
      <p:ext uri="{BB962C8B-B14F-4D97-AF65-F5344CB8AC3E}">
        <p14:creationId xmlns:p14="http://schemas.microsoft.com/office/powerpoint/2010/main" val="12171187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woObj" preserve="1">
  <p:cSld name="5_BSI Two Column - red">
    <p:spTree>
      <p:nvGrpSpPr>
        <p:cNvPr id="1" name=""/>
        <p:cNvGrpSpPr/>
        <p:nvPr/>
      </p:nvGrpSpPr>
      <p:grpSpPr>
        <a:xfrm>
          <a:off x="0" y="0"/>
          <a:ext cx="0" cy="0"/>
          <a:chOff x="0" y="0"/>
          <a:chExt cx="0" cy="0"/>
        </a:xfrm>
      </p:grpSpPr>
      <p:sp>
        <p:nvSpPr>
          <p:cNvPr id="11" name="Chord 10">
            <a:extLst>
              <a:ext uri="{FF2B5EF4-FFF2-40B4-BE49-F238E27FC236}">
                <a16:creationId xmlns:a16="http://schemas.microsoft.com/office/drawing/2014/main" id="{FC6FF6CC-29CC-7241-BD32-06AAED0B5880}"/>
              </a:ext>
            </a:extLst>
          </p:cNvPr>
          <p:cNvSpPr/>
          <p:nvPr userDrawn="1"/>
        </p:nvSpPr>
        <p:spPr>
          <a:xfrm rot="6747926">
            <a:off x="5816397" y="-2313289"/>
            <a:ext cx="12112593" cy="12112593"/>
          </a:xfrm>
          <a:prstGeom prst="chord">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59999" y="360000"/>
            <a:ext cx="11512694" cy="1332000"/>
          </a:xfrm>
        </p:spPr>
        <p:txBody>
          <a:bodyPr/>
          <a:lstStyle>
            <a:lvl1pPr>
              <a:defRPr>
                <a:solidFill>
                  <a:schemeClr val="bg1"/>
                </a:solidFill>
              </a:defRPr>
            </a:lvl1pPr>
          </a:lstStyle>
          <a:p>
            <a:r>
              <a:rPr lang="en-GB"/>
              <a:t>Click to edit Master title style</a:t>
            </a:r>
            <a:endParaRPr lang="en-US"/>
          </a:p>
        </p:txBody>
      </p:sp>
      <p:sp>
        <p:nvSpPr>
          <p:cNvPr id="7" name="Slide Number Placeholder 6"/>
          <p:cNvSpPr>
            <a:spLocks noGrp="1"/>
          </p:cNvSpPr>
          <p:nvPr>
            <p:ph type="sldNum" sz="quarter" idx="12"/>
          </p:nvPr>
        </p:nvSpPr>
        <p:spPr/>
        <p:txBody>
          <a:bodyPr/>
          <a:lstStyle/>
          <a:p>
            <a:fld id="{22BD14A0-459B-CA46-A763-3163F186A6C2}" type="slidenum">
              <a:rPr lang="en-US" smtClean="0"/>
              <a:t>‹#›</a:t>
            </a:fld>
            <a:endParaRPr lang="en-US"/>
          </a:p>
        </p:txBody>
      </p:sp>
      <p:sp>
        <p:nvSpPr>
          <p:cNvPr id="3" name="Content Placeholder 2"/>
          <p:cNvSpPr>
            <a:spLocks noGrp="1"/>
          </p:cNvSpPr>
          <p:nvPr>
            <p:ph sz="half" idx="1"/>
          </p:nvPr>
        </p:nvSpPr>
        <p:spPr>
          <a:xfrm>
            <a:off x="360000" y="1800000"/>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691093" y="1800000"/>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0141923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woObj" preserve="1">
  <p:cSld name="4_BSI Two Column - Red Line">
    <p:spTree>
      <p:nvGrpSpPr>
        <p:cNvPr id="1" name=""/>
        <p:cNvGrpSpPr/>
        <p:nvPr/>
      </p:nvGrpSpPr>
      <p:grpSpPr>
        <a:xfrm>
          <a:off x="0" y="0"/>
          <a:ext cx="0" cy="0"/>
          <a:chOff x="0" y="0"/>
          <a:chExt cx="0" cy="0"/>
        </a:xfrm>
      </p:grpSpPr>
      <p:sp>
        <p:nvSpPr>
          <p:cNvPr id="11" name="Chord 10">
            <a:extLst>
              <a:ext uri="{FF2B5EF4-FFF2-40B4-BE49-F238E27FC236}">
                <a16:creationId xmlns:a16="http://schemas.microsoft.com/office/drawing/2014/main" id="{FC6FF6CC-29CC-7241-BD32-06AAED0B5880}"/>
              </a:ext>
            </a:extLst>
          </p:cNvPr>
          <p:cNvSpPr/>
          <p:nvPr userDrawn="1"/>
        </p:nvSpPr>
        <p:spPr>
          <a:xfrm rot="6747926">
            <a:off x="4967924" y="-1732746"/>
            <a:ext cx="10339293" cy="7623924"/>
          </a:xfrm>
          <a:custGeom>
            <a:avLst/>
            <a:gdLst>
              <a:gd name="connsiteX0" fmla="*/ 10338745 w 12112593"/>
              <a:gd name="connsiteY0" fmla="*/ 10338745 h 12112593"/>
              <a:gd name="connsiteX1" fmla="*/ 3028148 w 12112593"/>
              <a:gd name="connsiteY1" fmla="*/ 11301203 h 12112593"/>
              <a:gd name="connsiteX2" fmla="*/ 206363 w 12112593"/>
              <a:gd name="connsiteY2" fmla="*/ 4488811 h 12112593"/>
              <a:gd name="connsiteX3" fmla="*/ 6056297 w 12112593"/>
              <a:gd name="connsiteY3" fmla="*/ -1 h 12112593"/>
              <a:gd name="connsiteX4" fmla="*/ 10338745 w 12112593"/>
              <a:gd name="connsiteY4" fmla="*/ 10338745 h 12112593"/>
              <a:gd name="connsiteX0" fmla="*/ 10339293 w 10339293"/>
              <a:gd name="connsiteY0" fmla="*/ 10250566 h 12024556"/>
              <a:gd name="connsiteX1" fmla="*/ 3028696 w 10339293"/>
              <a:gd name="connsiteY1" fmla="*/ 11213024 h 12024556"/>
              <a:gd name="connsiteX2" fmla="*/ 206911 w 10339293"/>
              <a:gd name="connsiteY2" fmla="*/ 4400632 h 12024556"/>
              <a:gd name="connsiteX3" fmla="*/ 6148285 w 10339293"/>
              <a:gd name="connsiteY3" fmla="*/ 3260 h 12024556"/>
              <a:gd name="connsiteX0" fmla="*/ 10339293 w 10339293"/>
              <a:gd name="connsiteY0" fmla="*/ 5849934 h 7623924"/>
              <a:gd name="connsiteX1" fmla="*/ 3028696 w 10339293"/>
              <a:gd name="connsiteY1" fmla="*/ 6812392 h 7623924"/>
              <a:gd name="connsiteX2" fmla="*/ 206911 w 10339293"/>
              <a:gd name="connsiteY2" fmla="*/ 0 h 7623924"/>
            </a:gdLst>
            <a:ahLst/>
            <a:cxnLst>
              <a:cxn ang="0">
                <a:pos x="connsiteX0" y="connsiteY0"/>
              </a:cxn>
              <a:cxn ang="0">
                <a:pos x="connsiteX1" y="connsiteY1"/>
              </a:cxn>
              <a:cxn ang="0">
                <a:pos x="connsiteX2" y="connsiteY2"/>
              </a:cxn>
            </a:cxnLst>
            <a:rect l="l" t="t" r="r" b="b"/>
            <a:pathLst>
              <a:path w="10339293" h="7623924">
                <a:moveTo>
                  <a:pt x="10339293" y="5849934"/>
                </a:moveTo>
                <a:cubicBezTo>
                  <a:pt x="8401032" y="7788195"/>
                  <a:pt x="5402571" y="8182950"/>
                  <a:pt x="3028696" y="6812392"/>
                </a:cubicBezTo>
                <a:cubicBezTo>
                  <a:pt x="654821" y="5441835"/>
                  <a:pt x="-502542" y="2647713"/>
                  <a:pt x="206911" y="0"/>
                </a:cubicBezTo>
              </a:path>
            </a:pathLst>
          </a:custGeom>
          <a:noFill/>
          <a:ln w="698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59999" y="360000"/>
            <a:ext cx="11512694" cy="1332000"/>
          </a:xfrm>
        </p:spPr>
        <p:txBody>
          <a:bodyPr/>
          <a:lstStyle>
            <a:lvl1pPr>
              <a:defRPr>
                <a:solidFill>
                  <a:schemeClr val="bg1"/>
                </a:solidFill>
              </a:defRPr>
            </a:lvl1pPr>
          </a:lstStyle>
          <a:p>
            <a:r>
              <a:rPr lang="en-GB"/>
              <a:t>Click to edit Master title style</a:t>
            </a:r>
            <a:endParaRPr lang="en-US"/>
          </a:p>
        </p:txBody>
      </p:sp>
      <p:sp>
        <p:nvSpPr>
          <p:cNvPr id="7" name="Slide Number Placeholder 6"/>
          <p:cNvSpPr>
            <a:spLocks noGrp="1"/>
          </p:cNvSpPr>
          <p:nvPr>
            <p:ph type="sldNum" sz="quarter" idx="12"/>
          </p:nvPr>
        </p:nvSpPr>
        <p:spPr/>
        <p:txBody>
          <a:bodyPr/>
          <a:lstStyle/>
          <a:p>
            <a:fld id="{22BD14A0-459B-CA46-A763-3163F186A6C2}" type="slidenum">
              <a:rPr lang="en-US" smtClean="0"/>
              <a:t>‹#›</a:t>
            </a:fld>
            <a:endParaRPr lang="en-US"/>
          </a:p>
        </p:txBody>
      </p:sp>
      <p:sp>
        <p:nvSpPr>
          <p:cNvPr id="3" name="Content Placeholder 2"/>
          <p:cNvSpPr>
            <a:spLocks noGrp="1"/>
          </p:cNvSpPr>
          <p:nvPr>
            <p:ph sz="half" idx="1"/>
          </p:nvPr>
        </p:nvSpPr>
        <p:spPr>
          <a:xfrm>
            <a:off x="360000" y="1800000"/>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691093" y="1800000"/>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6807883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woObj" preserve="1">
  <p:cSld name="2_BSI Two Column ">
    <p:spTree>
      <p:nvGrpSpPr>
        <p:cNvPr id="1" name=""/>
        <p:cNvGrpSpPr/>
        <p:nvPr/>
      </p:nvGrpSpPr>
      <p:grpSpPr>
        <a:xfrm>
          <a:off x="0" y="0"/>
          <a:ext cx="0" cy="0"/>
          <a:chOff x="0" y="0"/>
          <a:chExt cx="0" cy="0"/>
        </a:xfrm>
      </p:grpSpPr>
      <p:sp>
        <p:nvSpPr>
          <p:cNvPr id="11" name="Chord 10">
            <a:extLst>
              <a:ext uri="{FF2B5EF4-FFF2-40B4-BE49-F238E27FC236}">
                <a16:creationId xmlns:a16="http://schemas.microsoft.com/office/drawing/2014/main" id="{FC6FF6CC-29CC-7241-BD32-06AAED0B5880}"/>
              </a:ext>
            </a:extLst>
          </p:cNvPr>
          <p:cNvSpPr/>
          <p:nvPr userDrawn="1"/>
        </p:nvSpPr>
        <p:spPr>
          <a:xfrm rot="6747926">
            <a:off x="5816396" y="-2309699"/>
            <a:ext cx="12112593" cy="12112593"/>
          </a:xfrm>
          <a:prstGeom prst="chor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59999" y="360000"/>
            <a:ext cx="11512694" cy="1332000"/>
          </a:xfrm>
        </p:spPr>
        <p:txBody>
          <a:bodyPr/>
          <a:lstStyle/>
          <a:p>
            <a:r>
              <a:rPr lang="en-GB"/>
              <a:t>Click to edit Master title style</a:t>
            </a:r>
            <a:endParaRPr lang="en-US"/>
          </a:p>
        </p:txBody>
      </p:sp>
      <p:sp>
        <p:nvSpPr>
          <p:cNvPr id="7" name="Slide Number Placeholder 6"/>
          <p:cNvSpPr>
            <a:spLocks noGrp="1"/>
          </p:cNvSpPr>
          <p:nvPr>
            <p:ph type="sldNum" sz="quarter" idx="12"/>
          </p:nvPr>
        </p:nvSpPr>
        <p:spPr/>
        <p:txBody>
          <a:bodyPr/>
          <a:lstStyle/>
          <a:p>
            <a:fld id="{22BD14A0-459B-CA46-A763-3163F186A6C2}" type="slidenum">
              <a:rPr lang="en-US" smtClean="0"/>
              <a:t>‹#›</a:t>
            </a:fld>
            <a:endParaRPr lang="en-US"/>
          </a:p>
        </p:txBody>
      </p:sp>
      <p:sp>
        <p:nvSpPr>
          <p:cNvPr id="3" name="Content Placeholder 2"/>
          <p:cNvSpPr>
            <a:spLocks noGrp="1"/>
          </p:cNvSpPr>
          <p:nvPr>
            <p:ph sz="half" idx="1"/>
          </p:nvPr>
        </p:nvSpPr>
        <p:spPr>
          <a:xfrm>
            <a:off x="360000" y="1800000"/>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691093" y="1800000"/>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2086151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woObj" preserve="1">
  <p:cSld name="6_BSI Two Column - red">
    <p:spTree>
      <p:nvGrpSpPr>
        <p:cNvPr id="1" name=""/>
        <p:cNvGrpSpPr/>
        <p:nvPr/>
      </p:nvGrpSpPr>
      <p:grpSpPr>
        <a:xfrm>
          <a:off x="0" y="0"/>
          <a:ext cx="0" cy="0"/>
          <a:chOff x="0" y="0"/>
          <a:chExt cx="0" cy="0"/>
        </a:xfrm>
      </p:grpSpPr>
      <p:sp>
        <p:nvSpPr>
          <p:cNvPr id="11" name="Chord 10">
            <a:extLst>
              <a:ext uri="{FF2B5EF4-FFF2-40B4-BE49-F238E27FC236}">
                <a16:creationId xmlns:a16="http://schemas.microsoft.com/office/drawing/2014/main" id="{FC6FF6CC-29CC-7241-BD32-06AAED0B5880}"/>
              </a:ext>
            </a:extLst>
          </p:cNvPr>
          <p:cNvSpPr/>
          <p:nvPr userDrawn="1"/>
        </p:nvSpPr>
        <p:spPr>
          <a:xfrm rot="6747926">
            <a:off x="5816396" y="-2313289"/>
            <a:ext cx="12112593" cy="12112593"/>
          </a:xfrm>
          <a:prstGeom prst="chord">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59999" y="360000"/>
            <a:ext cx="11512694" cy="1332000"/>
          </a:xfrm>
        </p:spPr>
        <p:txBody>
          <a:bodyPr/>
          <a:lstStyle>
            <a:lvl1pPr>
              <a:defRPr>
                <a:solidFill>
                  <a:schemeClr val="bg1"/>
                </a:solidFill>
              </a:defRPr>
            </a:lvl1pPr>
          </a:lstStyle>
          <a:p>
            <a:r>
              <a:rPr lang="en-GB"/>
              <a:t>Click to edit Master title style</a:t>
            </a:r>
            <a:endParaRPr lang="en-US"/>
          </a:p>
        </p:txBody>
      </p:sp>
      <p:sp>
        <p:nvSpPr>
          <p:cNvPr id="7" name="Slide Number Placeholder 6"/>
          <p:cNvSpPr>
            <a:spLocks noGrp="1"/>
          </p:cNvSpPr>
          <p:nvPr>
            <p:ph type="sldNum" sz="quarter" idx="12"/>
          </p:nvPr>
        </p:nvSpPr>
        <p:spPr/>
        <p:txBody>
          <a:bodyPr/>
          <a:lstStyle/>
          <a:p>
            <a:fld id="{22BD14A0-459B-CA46-A763-3163F186A6C2}" type="slidenum">
              <a:rPr lang="en-US" smtClean="0"/>
              <a:t>‹#›</a:t>
            </a:fld>
            <a:endParaRPr lang="en-US"/>
          </a:p>
        </p:txBody>
      </p:sp>
      <p:sp>
        <p:nvSpPr>
          <p:cNvPr id="3" name="Content Placeholder 2"/>
          <p:cNvSpPr>
            <a:spLocks noGrp="1"/>
          </p:cNvSpPr>
          <p:nvPr>
            <p:ph sz="half" idx="1"/>
          </p:nvPr>
        </p:nvSpPr>
        <p:spPr>
          <a:xfrm>
            <a:off x="360000" y="1800000"/>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691093" y="1800000"/>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8057774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woObj" preserve="1">
  <p:cSld name="5_BSI Two Column - Teal Line">
    <p:spTree>
      <p:nvGrpSpPr>
        <p:cNvPr id="1" name=""/>
        <p:cNvGrpSpPr/>
        <p:nvPr/>
      </p:nvGrpSpPr>
      <p:grpSpPr>
        <a:xfrm>
          <a:off x="0" y="0"/>
          <a:ext cx="0" cy="0"/>
          <a:chOff x="0" y="0"/>
          <a:chExt cx="0" cy="0"/>
        </a:xfrm>
      </p:grpSpPr>
      <p:sp>
        <p:nvSpPr>
          <p:cNvPr id="11" name="Chord 10">
            <a:extLst>
              <a:ext uri="{FF2B5EF4-FFF2-40B4-BE49-F238E27FC236}">
                <a16:creationId xmlns:a16="http://schemas.microsoft.com/office/drawing/2014/main" id="{FC6FF6CC-29CC-7241-BD32-06AAED0B5880}"/>
              </a:ext>
            </a:extLst>
          </p:cNvPr>
          <p:cNvSpPr/>
          <p:nvPr userDrawn="1"/>
        </p:nvSpPr>
        <p:spPr>
          <a:xfrm rot="6747926">
            <a:off x="4967924" y="-1732746"/>
            <a:ext cx="10339293" cy="7623924"/>
          </a:xfrm>
          <a:custGeom>
            <a:avLst/>
            <a:gdLst>
              <a:gd name="connsiteX0" fmla="*/ 10338745 w 12112593"/>
              <a:gd name="connsiteY0" fmla="*/ 10338745 h 12112593"/>
              <a:gd name="connsiteX1" fmla="*/ 3028148 w 12112593"/>
              <a:gd name="connsiteY1" fmla="*/ 11301203 h 12112593"/>
              <a:gd name="connsiteX2" fmla="*/ 206363 w 12112593"/>
              <a:gd name="connsiteY2" fmla="*/ 4488811 h 12112593"/>
              <a:gd name="connsiteX3" fmla="*/ 6056297 w 12112593"/>
              <a:gd name="connsiteY3" fmla="*/ -1 h 12112593"/>
              <a:gd name="connsiteX4" fmla="*/ 10338745 w 12112593"/>
              <a:gd name="connsiteY4" fmla="*/ 10338745 h 12112593"/>
              <a:gd name="connsiteX0" fmla="*/ 10339293 w 10339293"/>
              <a:gd name="connsiteY0" fmla="*/ 10250566 h 12024556"/>
              <a:gd name="connsiteX1" fmla="*/ 3028696 w 10339293"/>
              <a:gd name="connsiteY1" fmla="*/ 11213024 h 12024556"/>
              <a:gd name="connsiteX2" fmla="*/ 206911 w 10339293"/>
              <a:gd name="connsiteY2" fmla="*/ 4400632 h 12024556"/>
              <a:gd name="connsiteX3" fmla="*/ 6148285 w 10339293"/>
              <a:gd name="connsiteY3" fmla="*/ 3260 h 12024556"/>
              <a:gd name="connsiteX0" fmla="*/ 10339293 w 10339293"/>
              <a:gd name="connsiteY0" fmla="*/ 5849934 h 7623924"/>
              <a:gd name="connsiteX1" fmla="*/ 3028696 w 10339293"/>
              <a:gd name="connsiteY1" fmla="*/ 6812392 h 7623924"/>
              <a:gd name="connsiteX2" fmla="*/ 206911 w 10339293"/>
              <a:gd name="connsiteY2" fmla="*/ 0 h 7623924"/>
            </a:gdLst>
            <a:ahLst/>
            <a:cxnLst>
              <a:cxn ang="0">
                <a:pos x="connsiteX0" y="connsiteY0"/>
              </a:cxn>
              <a:cxn ang="0">
                <a:pos x="connsiteX1" y="connsiteY1"/>
              </a:cxn>
              <a:cxn ang="0">
                <a:pos x="connsiteX2" y="connsiteY2"/>
              </a:cxn>
            </a:cxnLst>
            <a:rect l="l" t="t" r="r" b="b"/>
            <a:pathLst>
              <a:path w="10339293" h="7623924">
                <a:moveTo>
                  <a:pt x="10339293" y="5849934"/>
                </a:moveTo>
                <a:cubicBezTo>
                  <a:pt x="8401032" y="7788195"/>
                  <a:pt x="5402571" y="8182950"/>
                  <a:pt x="3028696" y="6812392"/>
                </a:cubicBezTo>
                <a:cubicBezTo>
                  <a:pt x="654821" y="5441835"/>
                  <a:pt x="-502542" y="2647713"/>
                  <a:pt x="206911" y="0"/>
                </a:cubicBezTo>
              </a:path>
            </a:pathLst>
          </a:custGeom>
          <a:noFill/>
          <a:ln w="698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59999" y="360000"/>
            <a:ext cx="11512694" cy="1332000"/>
          </a:xfrm>
        </p:spPr>
        <p:txBody>
          <a:bodyPr/>
          <a:lstStyle>
            <a:lvl1pPr>
              <a:defRPr>
                <a:solidFill>
                  <a:schemeClr val="tx1"/>
                </a:solidFill>
              </a:defRPr>
            </a:lvl1pPr>
          </a:lstStyle>
          <a:p>
            <a:r>
              <a:rPr lang="en-GB"/>
              <a:t>Click to edit Master title style</a:t>
            </a:r>
            <a:endParaRPr lang="en-US"/>
          </a:p>
        </p:txBody>
      </p:sp>
      <p:sp>
        <p:nvSpPr>
          <p:cNvPr id="7" name="Slide Number Placeholder 6"/>
          <p:cNvSpPr>
            <a:spLocks noGrp="1"/>
          </p:cNvSpPr>
          <p:nvPr>
            <p:ph type="sldNum" sz="quarter" idx="12"/>
          </p:nvPr>
        </p:nvSpPr>
        <p:spPr/>
        <p:txBody>
          <a:bodyPr/>
          <a:lstStyle/>
          <a:p>
            <a:fld id="{22BD14A0-459B-CA46-A763-3163F186A6C2}" type="slidenum">
              <a:rPr lang="en-US" smtClean="0"/>
              <a:t>‹#›</a:t>
            </a:fld>
            <a:endParaRPr lang="en-US"/>
          </a:p>
        </p:txBody>
      </p:sp>
      <p:sp>
        <p:nvSpPr>
          <p:cNvPr id="3" name="Content Placeholder 2"/>
          <p:cNvSpPr>
            <a:spLocks noGrp="1"/>
          </p:cNvSpPr>
          <p:nvPr>
            <p:ph sz="half" idx="1"/>
          </p:nvPr>
        </p:nvSpPr>
        <p:spPr>
          <a:xfrm>
            <a:off x="360000" y="1800000"/>
            <a:ext cx="5181600" cy="43513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691093" y="1800000"/>
            <a:ext cx="5181600" cy="43513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5063043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3_BSI Two Column ">
    <p:spTree>
      <p:nvGrpSpPr>
        <p:cNvPr id="1" name=""/>
        <p:cNvGrpSpPr/>
        <p:nvPr/>
      </p:nvGrpSpPr>
      <p:grpSpPr>
        <a:xfrm>
          <a:off x="0" y="0"/>
          <a:ext cx="0" cy="0"/>
          <a:chOff x="0" y="0"/>
          <a:chExt cx="0" cy="0"/>
        </a:xfrm>
      </p:grpSpPr>
      <p:sp>
        <p:nvSpPr>
          <p:cNvPr id="11" name="Chord 10">
            <a:extLst>
              <a:ext uri="{FF2B5EF4-FFF2-40B4-BE49-F238E27FC236}">
                <a16:creationId xmlns:a16="http://schemas.microsoft.com/office/drawing/2014/main" id="{FC6FF6CC-29CC-7241-BD32-06AAED0B5880}"/>
              </a:ext>
            </a:extLst>
          </p:cNvPr>
          <p:cNvSpPr/>
          <p:nvPr userDrawn="1"/>
        </p:nvSpPr>
        <p:spPr>
          <a:xfrm rot="6747926">
            <a:off x="5816396" y="-2309699"/>
            <a:ext cx="12112593" cy="12112593"/>
          </a:xfrm>
          <a:prstGeom prst="chord">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59999" y="360000"/>
            <a:ext cx="11512694" cy="1332000"/>
          </a:xfrm>
        </p:spPr>
        <p:txBody>
          <a:bodyPr/>
          <a:lstStyle/>
          <a:p>
            <a:r>
              <a:rPr lang="en-GB"/>
              <a:t>Click to edit Master title style</a:t>
            </a:r>
            <a:endParaRPr lang="en-US"/>
          </a:p>
        </p:txBody>
      </p:sp>
      <p:sp>
        <p:nvSpPr>
          <p:cNvPr id="7" name="Slide Number Placeholder 6"/>
          <p:cNvSpPr>
            <a:spLocks noGrp="1"/>
          </p:cNvSpPr>
          <p:nvPr>
            <p:ph type="sldNum" sz="quarter" idx="12"/>
          </p:nvPr>
        </p:nvSpPr>
        <p:spPr/>
        <p:txBody>
          <a:bodyPr/>
          <a:lstStyle/>
          <a:p>
            <a:fld id="{22BD14A0-459B-CA46-A763-3163F186A6C2}" type="slidenum">
              <a:rPr lang="en-US" smtClean="0"/>
              <a:t>‹#›</a:t>
            </a:fld>
            <a:endParaRPr lang="en-US"/>
          </a:p>
        </p:txBody>
      </p:sp>
      <p:sp>
        <p:nvSpPr>
          <p:cNvPr id="3" name="Content Placeholder 2"/>
          <p:cNvSpPr>
            <a:spLocks noGrp="1"/>
          </p:cNvSpPr>
          <p:nvPr>
            <p:ph sz="half" idx="1"/>
          </p:nvPr>
        </p:nvSpPr>
        <p:spPr>
          <a:xfrm>
            <a:off x="360000" y="1800000"/>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691093" y="1800000"/>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212202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Obj" preserve="1">
  <p:cSld name="7_BSI Two Column - Grey">
    <p:spTree>
      <p:nvGrpSpPr>
        <p:cNvPr id="1" name=""/>
        <p:cNvGrpSpPr/>
        <p:nvPr/>
      </p:nvGrpSpPr>
      <p:grpSpPr>
        <a:xfrm>
          <a:off x="0" y="0"/>
          <a:ext cx="0" cy="0"/>
          <a:chOff x="0" y="0"/>
          <a:chExt cx="0" cy="0"/>
        </a:xfrm>
      </p:grpSpPr>
      <p:sp>
        <p:nvSpPr>
          <p:cNvPr id="11" name="Chord 10">
            <a:extLst>
              <a:ext uri="{FF2B5EF4-FFF2-40B4-BE49-F238E27FC236}">
                <a16:creationId xmlns:a16="http://schemas.microsoft.com/office/drawing/2014/main" id="{FC6FF6CC-29CC-7241-BD32-06AAED0B5880}"/>
              </a:ext>
            </a:extLst>
          </p:cNvPr>
          <p:cNvSpPr/>
          <p:nvPr userDrawn="1"/>
        </p:nvSpPr>
        <p:spPr>
          <a:xfrm rot="6747926">
            <a:off x="5816397" y="-2313289"/>
            <a:ext cx="12112593" cy="12112593"/>
          </a:xfrm>
          <a:prstGeom prst="chord">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59999" y="360000"/>
            <a:ext cx="11512694" cy="1332000"/>
          </a:xfrm>
        </p:spPr>
        <p:txBody>
          <a:bodyPr/>
          <a:lstStyle>
            <a:lvl1pPr>
              <a:defRPr>
                <a:solidFill>
                  <a:schemeClr val="bg1"/>
                </a:solidFill>
              </a:defRPr>
            </a:lvl1pPr>
          </a:lstStyle>
          <a:p>
            <a:r>
              <a:rPr lang="en-GB"/>
              <a:t>Click to edit Master title style</a:t>
            </a:r>
            <a:endParaRPr lang="en-US"/>
          </a:p>
        </p:txBody>
      </p:sp>
      <p:sp>
        <p:nvSpPr>
          <p:cNvPr id="7" name="Slide Number Placeholder 6"/>
          <p:cNvSpPr>
            <a:spLocks noGrp="1"/>
          </p:cNvSpPr>
          <p:nvPr>
            <p:ph type="sldNum" sz="quarter" idx="12"/>
          </p:nvPr>
        </p:nvSpPr>
        <p:spPr/>
        <p:txBody>
          <a:bodyPr/>
          <a:lstStyle/>
          <a:p>
            <a:fld id="{22BD14A0-459B-CA46-A763-3163F186A6C2}" type="slidenum">
              <a:rPr lang="en-US" smtClean="0"/>
              <a:t>‹#›</a:t>
            </a:fld>
            <a:endParaRPr lang="en-US"/>
          </a:p>
        </p:txBody>
      </p:sp>
      <p:sp>
        <p:nvSpPr>
          <p:cNvPr id="3" name="Content Placeholder 2"/>
          <p:cNvSpPr>
            <a:spLocks noGrp="1"/>
          </p:cNvSpPr>
          <p:nvPr>
            <p:ph sz="half" idx="1"/>
          </p:nvPr>
        </p:nvSpPr>
        <p:spPr>
          <a:xfrm>
            <a:off x="360000" y="1800000"/>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691093" y="1800000"/>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471207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woObj" preserve="1">
  <p:cSld name="6_BSI Two Column - Grey Line">
    <p:spTree>
      <p:nvGrpSpPr>
        <p:cNvPr id="1" name=""/>
        <p:cNvGrpSpPr/>
        <p:nvPr/>
      </p:nvGrpSpPr>
      <p:grpSpPr>
        <a:xfrm>
          <a:off x="0" y="0"/>
          <a:ext cx="0" cy="0"/>
          <a:chOff x="0" y="0"/>
          <a:chExt cx="0" cy="0"/>
        </a:xfrm>
      </p:grpSpPr>
      <p:sp>
        <p:nvSpPr>
          <p:cNvPr id="11" name="Chord 10">
            <a:extLst>
              <a:ext uri="{FF2B5EF4-FFF2-40B4-BE49-F238E27FC236}">
                <a16:creationId xmlns:a16="http://schemas.microsoft.com/office/drawing/2014/main" id="{FC6FF6CC-29CC-7241-BD32-06AAED0B5880}"/>
              </a:ext>
            </a:extLst>
          </p:cNvPr>
          <p:cNvSpPr/>
          <p:nvPr userDrawn="1"/>
        </p:nvSpPr>
        <p:spPr>
          <a:xfrm rot="6747926">
            <a:off x="4967924" y="-772048"/>
            <a:ext cx="10339293" cy="7623924"/>
          </a:xfrm>
          <a:custGeom>
            <a:avLst/>
            <a:gdLst>
              <a:gd name="connsiteX0" fmla="*/ 10338745 w 12112593"/>
              <a:gd name="connsiteY0" fmla="*/ 10338745 h 12112593"/>
              <a:gd name="connsiteX1" fmla="*/ 3028148 w 12112593"/>
              <a:gd name="connsiteY1" fmla="*/ 11301203 h 12112593"/>
              <a:gd name="connsiteX2" fmla="*/ 206363 w 12112593"/>
              <a:gd name="connsiteY2" fmla="*/ 4488811 h 12112593"/>
              <a:gd name="connsiteX3" fmla="*/ 6056297 w 12112593"/>
              <a:gd name="connsiteY3" fmla="*/ -1 h 12112593"/>
              <a:gd name="connsiteX4" fmla="*/ 10338745 w 12112593"/>
              <a:gd name="connsiteY4" fmla="*/ 10338745 h 12112593"/>
              <a:gd name="connsiteX0" fmla="*/ 10339293 w 10339293"/>
              <a:gd name="connsiteY0" fmla="*/ 10250566 h 12024556"/>
              <a:gd name="connsiteX1" fmla="*/ 3028696 w 10339293"/>
              <a:gd name="connsiteY1" fmla="*/ 11213024 h 12024556"/>
              <a:gd name="connsiteX2" fmla="*/ 206911 w 10339293"/>
              <a:gd name="connsiteY2" fmla="*/ 4400632 h 12024556"/>
              <a:gd name="connsiteX3" fmla="*/ 6148285 w 10339293"/>
              <a:gd name="connsiteY3" fmla="*/ 3260 h 12024556"/>
              <a:gd name="connsiteX0" fmla="*/ 10339293 w 10339293"/>
              <a:gd name="connsiteY0" fmla="*/ 5849934 h 7623924"/>
              <a:gd name="connsiteX1" fmla="*/ 3028696 w 10339293"/>
              <a:gd name="connsiteY1" fmla="*/ 6812392 h 7623924"/>
              <a:gd name="connsiteX2" fmla="*/ 206911 w 10339293"/>
              <a:gd name="connsiteY2" fmla="*/ 0 h 7623924"/>
            </a:gdLst>
            <a:ahLst/>
            <a:cxnLst>
              <a:cxn ang="0">
                <a:pos x="connsiteX0" y="connsiteY0"/>
              </a:cxn>
              <a:cxn ang="0">
                <a:pos x="connsiteX1" y="connsiteY1"/>
              </a:cxn>
              <a:cxn ang="0">
                <a:pos x="connsiteX2" y="connsiteY2"/>
              </a:cxn>
            </a:cxnLst>
            <a:rect l="l" t="t" r="r" b="b"/>
            <a:pathLst>
              <a:path w="10339293" h="7623924">
                <a:moveTo>
                  <a:pt x="10339293" y="5849934"/>
                </a:moveTo>
                <a:cubicBezTo>
                  <a:pt x="8401032" y="7788195"/>
                  <a:pt x="5402571" y="8182950"/>
                  <a:pt x="3028696" y="6812392"/>
                </a:cubicBezTo>
                <a:cubicBezTo>
                  <a:pt x="654821" y="5441835"/>
                  <a:pt x="-502542" y="2647713"/>
                  <a:pt x="206911" y="0"/>
                </a:cubicBezTo>
              </a:path>
            </a:pathLst>
          </a:custGeom>
          <a:noFill/>
          <a:ln w="698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59999" y="360000"/>
            <a:ext cx="11512694" cy="1332000"/>
          </a:xfrm>
        </p:spPr>
        <p:txBody>
          <a:bodyPr/>
          <a:lstStyle>
            <a:lvl1pPr>
              <a:defRPr>
                <a:solidFill>
                  <a:schemeClr val="bg1"/>
                </a:solidFill>
              </a:defRPr>
            </a:lvl1pPr>
          </a:lstStyle>
          <a:p>
            <a:r>
              <a:rPr lang="en-GB"/>
              <a:t>Click to edit Master title style</a:t>
            </a:r>
            <a:endParaRPr lang="en-US"/>
          </a:p>
        </p:txBody>
      </p:sp>
      <p:sp>
        <p:nvSpPr>
          <p:cNvPr id="7" name="Slide Number Placeholder 6"/>
          <p:cNvSpPr>
            <a:spLocks noGrp="1"/>
          </p:cNvSpPr>
          <p:nvPr>
            <p:ph type="sldNum" sz="quarter" idx="12"/>
          </p:nvPr>
        </p:nvSpPr>
        <p:spPr/>
        <p:txBody>
          <a:bodyPr/>
          <a:lstStyle/>
          <a:p>
            <a:fld id="{22BD14A0-459B-CA46-A763-3163F186A6C2}" type="slidenum">
              <a:rPr lang="en-US" smtClean="0"/>
              <a:t>‹#›</a:t>
            </a:fld>
            <a:endParaRPr lang="en-US"/>
          </a:p>
        </p:txBody>
      </p:sp>
      <p:sp>
        <p:nvSpPr>
          <p:cNvPr id="3" name="Content Placeholder 2"/>
          <p:cNvSpPr>
            <a:spLocks noGrp="1"/>
          </p:cNvSpPr>
          <p:nvPr>
            <p:ph sz="half" idx="1"/>
          </p:nvPr>
        </p:nvSpPr>
        <p:spPr>
          <a:xfrm>
            <a:off x="360000" y="1800000"/>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691093" y="1800000"/>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0502165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woTxTwoObj" preserve="1">
  <p:cSld name="BSI Comparison">
    <p:spTree>
      <p:nvGrpSpPr>
        <p:cNvPr id="1" name=""/>
        <p:cNvGrpSpPr/>
        <p:nvPr/>
      </p:nvGrpSpPr>
      <p:grpSpPr>
        <a:xfrm>
          <a:off x="0" y="0"/>
          <a:ext cx="0" cy="0"/>
          <a:chOff x="0" y="0"/>
          <a:chExt cx="0" cy="0"/>
        </a:xfrm>
      </p:grpSpPr>
      <p:sp>
        <p:nvSpPr>
          <p:cNvPr id="2" name="Title 1"/>
          <p:cNvSpPr>
            <a:spLocks noGrp="1"/>
          </p:cNvSpPr>
          <p:nvPr>
            <p:ph type="title"/>
          </p:nvPr>
        </p:nvSpPr>
        <p:spPr>
          <a:xfrm>
            <a:off x="359999" y="360000"/>
            <a:ext cx="11512693" cy="1325563"/>
          </a:xfrm>
        </p:spPr>
        <p:txBody>
          <a:bodyPr/>
          <a:lstStyle/>
          <a:p>
            <a:r>
              <a:rPr lang="en-GB"/>
              <a:t>Click to edit Master title style</a:t>
            </a:r>
            <a:endParaRPr lang="en-US"/>
          </a:p>
        </p:txBody>
      </p:sp>
      <p:sp>
        <p:nvSpPr>
          <p:cNvPr id="3" name="Text Placeholder 2"/>
          <p:cNvSpPr>
            <a:spLocks noGrp="1"/>
          </p:cNvSpPr>
          <p:nvPr>
            <p:ph type="body" idx="1"/>
          </p:nvPr>
        </p:nvSpPr>
        <p:spPr>
          <a:xfrm>
            <a:off x="360000" y="1800000"/>
            <a:ext cx="5157787" cy="823912"/>
          </a:xfrm>
        </p:spPr>
        <p:txBody>
          <a:bodyPr anchor="t" anchorCtr="0"/>
          <a:lstStyle>
            <a:lvl1pPr marL="0" indent="0">
              <a:buNone/>
              <a:defRPr sz="2400" b="0" i="0" baseline="0">
                <a:latin typeface="Tahom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360000" y="2520000"/>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689504" y="1800000"/>
            <a:ext cx="5183188" cy="823912"/>
          </a:xfrm>
        </p:spPr>
        <p:txBody>
          <a:bodyPr anchor="t" anchorCtr="0"/>
          <a:lstStyle>
            <a:lvl1pPr marL="0" indent="0">
              <a:buNone/>
              <a:defRPr sz="2400" b="0" i="0" baseline="0">
                <a:latin typeface="Tahom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689504" y="2520000"/>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8"/>
          <p:cNvSpPr>
            <a:spLocks noGrp="1"/>
          </p:cNvSpPr>
          <p:nvPr>
            <p:ph type="sldNum" sz="quarter" idx="12"/>
          </p:nvPr>
        </p:nvSpPr>
        <p:spPr/>
        <p:txBody>
          <a:bodyPr/>
          <a:lstStyle/>
          <a:p>
            <a:fld id="{22BD14A0-459B-CA46-A763-3163F186A6C2}" type="slidenum">
              <a:rPr lang="en-US" smtClean="0"/>
              <a:t>‹#›</a:t>
            </a:fld>
            <a:endParaRPr lang="en-US"/>
          </a:p>
        </p:txBody>
      </p:sp>
    </p:spTree>
    <p:extLst>
      <p:ext uri="{BB962C8B-B14F-4D97-AF65-F5344CB8AC3E}">
        <p14:creationId xmlns:p14="http://schemas.microsoft.com/office/powerpoint/2010/main" val="41191238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Only" preserve="1">
  <p:cSld name="BSI 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9999" y="360000"/>
            <a:ext cx="11512693" cy="1332000"/>
          </a:xfrm>
        </p:spPr>
        <p:txBody>
          <a:bodyPr/>
          <a:lstStyle/>
          <a:p>
            <a:r>
              <a:rPr lang="en-GB"/>
              <a:t>Click to edit Master title style</a:t>
            </a:r>
            <a:endParaRPr lang="en-US"/>
          </a:p>
        </p:txBody>
      </p:sp>
      <p:sp>
        <p:nvSpPr>
          <p:cNvPr id="5" name="Slide Number Placeholder 4"/>
          <p:cNvSpPr>
            <a:spLocks noGrp="1"/>
          </p:cNvSpPr>
          <p:nvPr>
            <p:ph type="sldNum" sz="quarter" idx="12"/>
          </p:nvPr>
        </p:nvSpPr>
        <p:spPr/>
        <p:txBody>
          <a:bodyPr/>
          <a:lstStyle/>
          <a:p>
            <a:fld id="{22BD14A0-459B-CA46-A763-3163F186A6C2}" type="slidenum">
              <a:rPr lang="en-US" smtClean="0"/>
              <a:t>‹#›</a:t>
            </a:fld>
            <a:endParaRPr lang="en-US"/>
          </a:p>
        </p:txBody>
      </p:sp>
    </p:spTree>
    <p:extLst>
      <p:ext uri="{BB962C8B-B14F-4D97-AF65-F5344CB8AC3E}">
        <p14:creationId xmlns:p14="http://schemas.microsoft.com/office/powerpoint/2010/main" val="15159116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BSI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p:cNvSpPr>
            <a:spLocks noGrp="1"/>
          </p:cNvSpPr>
          <p:nvPr>
            <p:ph type="sldNum" sz="quarter" idx="12"/>
          </p:nvPr>
        </p:nvSpPr>
        <p:spPr/>
        <p:txBody>
          <a:bodyPr/>
          <a:lstStyle/>
          <a:p>
            <a:fld id="{22BD14A0-459B-CA46-A763-3163F186A6C2}" type="slidenum">
              <a:rPr lang="en-US" smtClean="0"/>
              <a:t>‹#›</a:t>
            </a:fld>
            <a:endParaRPr lang="en-US"/>
          </a:p>
        </p:txBody>
      </p:sp>
    </p:spTree>
    <p:extLst>
      <p:ext uri="{BB962C8B-B14F-4D97-AF65-F5344CB8AC3E}">
        <p14:creationId xmlns:p14="http://schemas.microsoft.com/office/powerpoint/2010/main" val="13788734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SI 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2BD14A0-459B-CA46-A763-3163F186A6C2}" type="slidenum">
              <a:rPr lang="en-US" smtClean="0"/>
              <a:t>‹#›</a:t>
            </a:fld>
            <a:endParaRPr lang="en-US"/>
          </a:p>
        </p:txBody>
      </p:sp>
    </p:spTree>
    <p:extLst>
      <p:ext uri="{BB962C8B-B14F-4D97-AF65-F5344CB8AC3E}">
        <p14:creationId xmlns:p14="http://schemas.microsoft.com/office/powerpoint/2010/main" val="39594900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Tx" preserve="1">
  <p:cSld name="BSI 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9021" y="360000"/>
            <a:ext cx="3932237" cy="1697400"/>
          </a:xfrm>
        </p:spPr>
        <p:txBody>
          <a:bodyPr anchor="t" anchorCtr="0"/>
          <a:lstStyle>
            <a:lvl1pPr>
              <a:defRPr sz="3200"/>
            </a:lvl1pPr>
          </a:lstStyle>
          <a:p>
            <a:r>
              <a:rPr lang="en-GB"/>
              <a:t>Click to edit Master title style</a:t>
            </a:r>
            <a:endParaRPr lang="en-US"/>
          </a:p>
        </p:txBody>
      </p:sp>
      <p:sp>
        <p:nvSpPr>
          <p:cNvPr id="3" name="Content Placeholder 2"/>
          <p:cNvSpPr>
            <a:spLocks noGrp="1"/>
          </p:cNvSpPr>
          <p:nvPr>
            <p:ph idx="1" hasCustomPrompt="1"/>
          </p:nvPr>
        </p:nvSpPr>
        <p:spPr>
          <a:xfrm>
            <a:off x="5183188" y="360000"/>
            <a:ext cx="6172200" cy="54038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a:t>
            </a:r>
            <a:br>
              <a:rPr lang="en-GB"/>
            </a:br>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359021"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7" name="Slide Number Placeholder 6"/>
          <p:cNvSpPr>
            <a:spLocks noGrp="1"/>
          </p:cNvSpPr>
          <p:nvPr>
            <p:ph type="sldNum" sz="quarter" idx="12"/>
          </p:nvPr>
        </p:nvSpPr>
        <p:spPr/>
        <p:txBody>
          <a:bodyPr/>
          <a:lstStyle/>
          <a:p>
            <a:fld id="{22BD14A0-459B-CA46-A763-3163F186A6C2}" type="slidenum">
              <a:rPr lang="en-US" smtClean="0"/>
              <a:t>‹#›</a:t>
            </a:fld>
            <a:endParaRPr lang="en-US"/>
          </a:p>
        </p:txBody>
      </p:sp>
    </p:spTree>
    <p:extLst>
      <p:ext uri="{BB962C8B-B14F-4D97-AF65-F5344CB8AC3E}">
        <p14:creationId xmlns:p14="http://schemas.microsoft.com/office/powerpoint/2010/main" val="9428201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picTx" preserve="1">
  <p:cSld name="BSI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3932237" cy="1600200"/>
          </a:xfrm>
        </p:spPr>
        <p:txBody>
          <a:bodyPr anchor="t" anchorCtr="0"/>
          <a:lstStyle>
            <a:lvl1pPr>
              <a:defRPr sz="3200"/>
            </a:lvl1pPr>
          </a:lstStyle>
          <a:p>
            <a:r>
              <a:rPr lang="en-GB"/>
              <a:t>Click to edit Master title style</a:t>
            </a:r>
            <a:endParaRPr lang="en-US"/>
          </a:p>
        </p:txBody>
      </p:sp>
      <p:sp>
        <p:nvSpPr>
          <p:cNvPr id="3" name="Picture Placeholder 2"/>
          <p:cNvSpPr>
            <a:spLocks noGrp="1" noChangeAspect="1"/>
          </p:cNvSpPr>
          <p:nvPr>
            <p:ph type="pic" idx="1"/>
          </p:nvPr>
        </p:nvSpPr>
        <p:spPr>
          <a:xfrm>
            <a:off x="5183188" y="360000"/>
            <a:ext cx="6172200" cy="5508988"/>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4" name="Text Placeholder 3"/>
          <p:cNvSpPr>
            <a:spLocks noGrp="1"/>
          </p:cNvSpPr>
          <p:nvPr>
            <p:ph type="body" sz="half" idx="2"/>
          </p:nvPr>
        </p:nvSpPr>
        <p:spPr>
          <a:xfrm>
            <a:off x="360000"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7" name="Slide Number Placeholder 6"/>
          <p:cNvSpPr>
            <a:spLocks noGrp="1"/>
          </p:cNvSpPr>
          <p:nvPr>
            <p:ph type="sldNum" sz="quarter" idx="12"/>
          </p:nvPr>
        </p:nvSpPr>
        <p:spPr/>
        <p:txBody>
          <a:bodyPr/>
          <a:lstStyle/>
          <a:p>
            <a:fld id="{22BD14A0-459B-CA46-A763-3163F186A6C2}" type="slidenum">
              <a:rPr lang="en-US" smtClean="0"/>
              <a:t>‹#›</a:t>
            </a:fld>
            <a:endParaRPr lang="en-US"/>
          </a:p>
        </p:txBody>
      </p:sp>
    </p:spTree>
    <p:extLst>
      <p:ext uri="{BB962C8B-B14F-4D97-AF65-F5344CB8AC3E}">
        <p14:creationId xmlns:p14="http://schemas.microsoft.com/office/powerpoint/2010/main" val="14654077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SI Titl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6" name="Slide Number Placeholder 5"/>
          <p:cNvSpPr>
            <a:spLocks noGrp="1"/>
          </p:cNvSpPr>
          <p:nvPr>
            <p:ph type="sldNum" sz="quarter" idx="12"/>
          </p:nvPr>
        </p:nvSpPr>
        <p:spPr/>
        <p:txBody>
          <a:bodyPr/>
          <a:lstStyle/>
          <a:p>
            <a:fld id="{22BD14A0-459B-CA46-A763-3163F186A6C2}" type="slidenum">
              <a:rPr lang="en-US" smtClean="0"/>
              <a:t>‹#›</a:t>
            </a:fld>
            <a:endParaRPr lang="en-US"/>
          </a:p>
        </p:txBody>
      </p:sp>
    </p:spTree>
    <p:extLst>
      <p:ext uri="{BB962C8B-B14F-4D97-AF65-F5344CB8AC3E}">
        <p14:creationId xmlns:p14="http://schemas.microsoft.com/office/powerpoint/2010/main" val="12359059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SI Closing pag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770C1C0-0709-3A4E-973F-9F0EA85A305B}"/>
              </a:ext>
            </a:extLst>
          </p:cNvPr>
          <p:cNvGrpSpPr/>
          <p:nvPr userDrawn="1"/>
        </p:nvGrpSpPr>
        <p:grpSpPr>
          <a:xfrm>
            <a:off x="0" y="5238000"/>
            <a:ext cx="12192000" cy="1620000"/>
            <a:chOff x="0" y="5238000"/>
            <a:chExt cx="12192000" cy="1620000"/>
          </a:xfrm>
        </p:grpSpPr>
        <p:sp>
          <p:nvSpPr>
            <p:cNvPr id="4" name="Rectangle 3">
              <a:extLst>
                <a:ext uri="{FF2B5EF4-FFF2-40B4-BE49-F238E27FC236}">
                  <a16:creationId xmlns:a16="http://schemas.microsoft.com/office/drawing/2014/main" id="{5B0A6F6F-1E9B-CF40-96AA-18F6B2E783C8}"/>
                </a:ext>
              </a:extLst>
            </p:cNvPr>
            <p:cNvSpPr/>
            <p:nvPr userDrawn="1"/>
          </p:nvSpPr>
          <p:spPr>
            <a:xfrm>
              <a:off x="0" y="5238000"/>
              <a:ext cx="12192000" cy="1620000"/>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A815A2FC-3A2B-D646-9FF7-2E4E1C4F113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71162" y="5679487"/>
              <a:ext cx="837187" cy="818514"/>
            </a:xfrm>
            <a:prstGeom prst="rect">
              <a:avLst/>
            </a:prstGeom>
          </p:spPr>
        </p:pic>
        <p:pic>
          <p:nvPicPr>
            <p:cNvPr id="7" name="Picture 6" descr="A picture containing drawing&#10;&#10;Description automatically generated">
              <a:extLst>
                <a:ext uri="{FF2B5EF4-FFF2-40B4-BE49-F238E27FC236}">
                  <a16:creationId xmlns:a16="http://schemas.microsoft.com/office/drawing/2014/main" id="{2C1694A3-75A2-8A4F-8F1D-6F8C79D51D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7922" y="5551683"/>
              <a:ext cx="1488950" cy="992633"/>
            </a:xfrm>
            <a:prstGeom prst="rect">
              <a:avLst/>
            </a:prstGeom>
          </p:spPr>
        </p:pic>
      </p:grpSp>
      <p:sp>
        <p:nvSpPr>
          <p:cNvPr id="8" name="Text Placeholder 11">
            <a:extLst>
              <a:ext uri="{FF2B5EF4-FFF2-40B4-BE49-F238E27FC236}">
                <a16:creationId xmlns:a16="http://schemas.microsoft.com/office/drawing/2014/main" id="{62861592-A5CC-C541-91DC-BCD07E821B35}"/>
              </a:ext>
            </a:extLst>
          </p:cNvPr>
          <p:cNvSpPr>
            <a:spLocks noGrp="1"/>
          </p:cNvSpPr>
          <p:nvPr>
            <p:ph type="body" sz="quarter" idx="10" hasCustomPrompt="1"/>
          </p:nvPr>
        </p:nvSpPr>
        <p:spPr>
          <a:xfrm>
            <a:off x="360000" y="5640401"/>
            <a:ext cx="7200000" cy="818513"/>
          </a:xfrm>
        </p:spPr>
        <p:txBody>
          <a:bodyPr>
            <a:normAutofit/>
          </a:bodyPr>
          <a:lstStyle>
            <a:lvl1pPr marL="0" indent="0">
              <a:buNone/>
              <a:defRPr sz="1400" spc="20" baseline="0"/>
            </a:lvl1pPr>
          </a:lstStyle>
          <a:p>
            <a:pPr lvl="0"/>
            <a:r>
              <a:rPr lang="en-US"/>
              <a:t>End page information</a:t>
            </a:r>
          </a:p>
        </p:txBody>
      </p:sp>
      <p:sp>
        <p:nvSpPr>
          <p:cNvPr id="11" name="TextBox 10">
            <a:extLst>
              <a:ext uri="{FF2B5EF4-FFF2-40B4-BE49-F238E27FC236}">
                <a16:creationId xmlns:a16="http://schemas.microsoft.com/office/drawing/2014/main" id="{2CED3E15-AF54-5641-8301-2A832BC2608D}"/>
              </a:ext>
            </a:extLst>
          </p:cNvPr>
          <p:cNvSpPr txBox="1"/>
          <p:nvPr userDrawn="1"/>
        </p:nvSpPr>
        <p:spPr>
          <a:xfrm>
            <a:off x="360000" y="6544316"/>
            <a:ext cx="5400000" cy="92333"/>
          </a:xfrm>
          <a:prstGeom prst="rect">
            <a:avLst/>
          </a:prstGeom>
          <a:noFill/>
        </p:spPr>
        <p:txBody>
          <a:bodyPr wrap="square" lIns="0" tIns="0" rIns="0" bIns="0" rtlCol="0">
            <a:spAutoFit/>
          </a:bodyPr>
          <a:lstStyle/>
          <a:p>
            <a:r>
              <a:rPr lang="en-US" sz="600">
                <a:latin typeface="Tahoma" panose="020B0604030504040204" pitchFamily="34" charset="0"/>
                <a:ea typeface="Tahoma" panose="020B0604030504040204" pitchFamily="34" charset="0"/>
                <a:cs typeface="Tahoma" panose="020B0604030504040204" pitchFamily="34" charset="0"/>
              </a:rPr>
              <a:t>Copyright © 2020 BSI. All rights reserved</a:t>
            </a:r>
          </a:p>
        </p:txBody>
      </p:sp>
      <p:sp>
        <p:nvSpPr>
          <p:cNvPr id="12" name="Title 1">
            <a:extLst>
              <a:ext uri="{FF2B5EF4-FFF2-40B4-BE49-F238E27FC236}">
                <a16:creationId xmlns:a16="http://schemas.microsoft.com/office/drawing/2014/main" id="{C13B71EA-EBDF-9A4D-B493-E9F700FEA6A0}"/>
              </a:ext>
            </a:extLst>
          </p:cNvPr>
          <p:cNvSpPr>
            <a:spLocks noGrp="1"/>
          </p:cNvSpPr>
          <p:nvPr>
            <p:ph type="title"/>
          </p:nvPr>
        </p:nvSpPr>
        <p:spPr>
          <a:xfrm>
            <a:off x="360000" y="2283068"/>
            <a:ext cx="10800000" cy="1332000"/>
          </a:xfrm>
        </p:spPr>
        <p:txBody>
          <a:bodyPr/>
          <a:lstStyle/>
          <a:p>
            <a:r>
              <a:rPr lang="en-GB"/>
              <a:t>Click to edit Master title style</a:t>
            </a:r>
            <a:endParaRPr lang="en-US"/>
          </a:p>
        </p:txBody>
      </p:sp>
    </p:spTree>
    <p:extLst>
      <p:ext uri="{BB962C8B-B14F-4D97-AF65-F5344CB8AC3E}">
        <p14:creationId xmlns:p14="http://schemas.microsoft.com/office/powerpoint/2010/main" val="7941119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or cover slide">
    <p:spTree>
      <p:nvGrpSpPr>
        <p:cNvPr id="1" name=""/>
        <p:cNvGrpSpPr/>
        <p:nvPr/>
      </p:nvGrpSpPr>
      <p:grpSpPr>
        <a:xfrm>
          <a:off x="0" y="0"/>
          <a:ext cx="0" cy="0"/>
          <a:chOff x="0" y="0"/>
          <a:chExt cx="0" cy="0"/>
        </a:xfrm>
      </p:grpSpPr>
      <p:pic>
        <p:nvPicPr>
          <p:cNvPr id="6" name="Picture 2" descr="J:\GlobalPortfolioandBrand\Brand PR Comms\Brand\Images\2015-16 Photography Update\IMAGES\CATEGORIES - INTRANET IMAGE LIBRARIES\PPT COVERS\Slide images\Sectors.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8869" y="49987"/>
            <a:ext cx="12151815" cy="683539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31371" y="1689600"/>
            <a:ext cx="4896280" cy="1824203"/>
          </a:xfrm>
        </p:spPr>
        <p:txBody>
          <a:bodyPr anchor="b">
            <a:noAutofit/>
          </a:bodyPr>
          <a:lstStyle>
            <a:lvl1pPr>
              <a:defRPr sz="3733" baseline="0">
                <a:solidFill>
                  <a:schemeClr val="accent2"/>
                </a:solidFill>
              </a:defRPr>
            </a:lvl1pPr>
          </a:lstStyle>
          <a:p>
            <a:r>
              <a:rPr lang="en-US"/>
              <a:t>Click to edit presentation title</a:t>
            </a:r>
            <a:endParaRPr lang="en-GB"/>
          </a:p>
        </p:txBody>
      </p:sp>
      <p:sp>
        <p:nvSpPr>
          <p:cNvPr id="3" name="Date Placeholder 2"/>
          <p:cNvSpPr>
            <a:spLocks noGrp="1"/>
          </p:cNvSpPr>
          <p:nvPr>
            <p:ph type="dt" sz="half" idx="10"/>
          </p:nvPr>
        </p:nvSpPr>
        <p:spPr/>
        <p:txBody>
          <a:bodyPr/>
          <a:lstStyle>
            <a:lvl1pPr>
              <a:defRPr>
                <a:solidFill>
                  <a:schemeClr val="bg1"/>
                </a:solidFill>
              </a:defRPr>
            </a:lvl1p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
        <p:nvSpPr>
          <p:cNvPr id="7" name="Oval 6" hidden="1"/>
          <p:cNvSpPr/>
          <p:nvPr userDrawn="1"/>
        </p:nvSpPr>
        <p:spPr>
          <a:xfrm>
            <a:off x="6263456" y="1700808"/>
            <a:ext cx="4105019" cy="41050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a:p>
        </p:txBody>
      </p:sp>
      <p:cxnSp>
        <p:nvCxnSpPr>
          <p:cNvPr id="12" name="Straight Connector 11" hidden="1"/>
          <p:cNvCxnSpPr/>
          <p:nvPr userDrawn="1"/>
        </p:nvCxnSpPr>
        <p:spPr>
          <a:xfrm flipH="1">
            <a:off x="6576054" y="1604797"/>
            <a:ext cx="3936437" cy="3888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hidden="1"/>
          <p:cNvCxnSpPr/>
          <p:nvPr userDrawn="1"/>
        </p:nvCxnSpPr>
        <p:spPr>
          <a:xfrm>
            <a:off x="6576054" y="1604797"/>
            <a:ext cx="3936437" cy="3888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31372" y="668347"/>
            <a:ext cx="911857" cy="55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userDrawn="1"/>
        </p:nvSpPr>
        <p:spPr>
          <a:xfrm>
            <a:off x="287355" y="5973283"/>
            <a:ext cx="768085" cy="535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0" name="Text Placeholder 19"/>
          <p:cNvSpPr>
            <a:spLocks noGrp="1"/>
          </p:cNvSpPr>
          <p:nvPr>
            <p:ph type="body" sz="quarter" idx="16" hasCustomPrompt="1"/>
          </p:nvPr>
        </p:nvSpPr>
        <p:spPr>
          <a:xfrm>
            <a:off x="431372" y="3717033"/>
            <a:ext cx="4896185" cy="912119"/>
          </a:xfrm>
        </p:spPr>
        <p:txBody>
          <a:bodyPr/>
          <a:lstStyle>
            <a:lvl1pPr>
              <a:defRPr sz="2133" b="0">
                <a:solidFill>
                  <a:schemeClr val="accent4"/>
                </a:solidFill>
              </a:defRPr>
            </a:lvl1pPr>
          </a:lstStyle>
          <a:p>
            <a:pPr lvl="0"/>
            <a:r>
              <a:rPr lang="en-US"/>
              <a:t>Add subtitle here</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1"/>
          </p:nvPr>
        </p:nvSpPr>
        <p:spPr>
          <a:xfrm>
            <a:off x="431371" y="6261315"/>
            <a:ext cx="4896280" cy="149101"/>
          </a:xfrm>
        </p:spPr>
        <p:txBody>
          <a:bodyPr lIns="0"/>
          <a:lstStyle/>
          <a:p>
            <a:endParaRPr lang="en-GB"/>
          </a:p>
        </p:txBody>
      </p:sp>
      <p:pic>
        <p:nvPicPr>
          <p:cNvPr id="30" name="Picture 29" descr="IIP_LOGO_BLACK.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712586" y="5335637"/>
            <a:ext cx="1916401" cy="588884"/>
          </a:xfrm>
          <a:prstGeom prst="rect">
            <a:avLst/>
          </a:prstGeom>
        </p:spPr>
      </p:pic>
      <p:pic>
        <p:nvPicPr>
          <p:cNvPr id="31" name="Picture 30" descr="By royal charter.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27784" y="5238877"/>
            <a:ext cx="829729" cy="782400"/>
          </a:xfrm>
          <a:prstGeom prst="rect">
            <a:avLst/>
          </a:prstGeom>
        </p:spPr>
      </p:pic>
      <p:pic>
        <p:nvPicPr>
          <p:cNvPr id="32" name="Picture 2"/>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431371" y="5238867"/>
            <a:ext cx="782421" cy="7824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1186235"/>
      </p:ext>
    </p:extLst>
  </p:cSld>
  <p:clrMapOvr>
    <a:masterClrMapping/>
  </p:clrMapOvr>
  <p:transition>
    <p:fade thruBlk="1"/>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slide 1 (excluding UK) 3 image segments">
    <p:spTree>
      <p:nvGrpSpPr>
        <p:cNvPr id="1" name=""/>
        <p:cNvGrpSpPr/>
        <p:nvPr/>
      </p:nvGrpSpPr>
      <p:grpSpPr>
        <a:xfrm>
          <a:off x="0" y="0"/>
          <a:ext cx="0" cy="0"/>
          <a:chOff x="0" y="0"/>
          <a:chExt cx="0" cy="0"/>
        </a:xfrm>
      </p:grpSpPr>
      <p:sp>
        <p:nvSpPr>
          <p:cNvPr id="6" name="Right Triangle 5"/>
          <p:cNvSpPr>
            <a:spLocks noChangeAspect="1"/>
          </p:cNvSpPr>
          <p:nvPr userDrawn="1"/>
        </p:nvSpPr>
        <p:spPr>
          <a:xfrm flipH="1">
            <a:off x="5183899" y="0"/>
            <a:ext cx="7008101" cy="685800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title" hasCustomPrompt="1"/>
          </p:nvPr>
        </p:nvSpPr>
        <p:spPr>
          <a:xfrm>
            <a:off x="431371" y="1689600"/>
            <a:ext cx="4896280" cy="1824203"/>
          </a:xfrm>
        </p:spPr>
        <p:txBody>
          <a:bodyPr anchor="b">
            <a:noAutofit/>
          </a:bodyPr>
          <a:lstStyle>
            <a:lvl1pPr>
              <a:defRPr sz="3733" baseline="0">
                <a:solidFill>
                  <a:schemeClr val="accent2"/>
                </a:solidFill>
              </a:defRPr>
            </a:lvl1pPr>
          </a:lstStyle>
          <a:p>
            <a:r>
              <a:rPr lang="en-US"/>
              <a:t>Click to edit presentation title</a:t>
            </a:r>
            <a:endParaRPr lang="en-GB"/>
          </a:p>
        </p:txBody>
      </p:sp>
      <p:sp>
        <p:nvSpPr>
          <p:cNvPr id="3" name="Date Placeholder 2"/>
          <p:cNvSpPr>
            <a:spLocks noGrp="1"/>
          </p:cNvSpPr>
          <p:nvPr>
            <p:ph type="dt" sz="half" idx="10"/>
          </p:nvPr>
        </p:nvSpPr>
        <p:spPr/>
        <p:txBody>
          <a:bodyPr/>
          <a:lstStyle>
            <a:lvl1pPr>
              <a:defRPr>
                <a:solidFill>
                  <a:schemeClr val="bg1"/>
                </a:solidFill>
              </a:defRPr>
            </a:lvl1p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
        <p:nvSpPr>
          <p:cNvPr id="7" name="Oval 6" hidden="1"/>
          <p:cNvSpPr/>
          <p:nvPr userDrawn="1"/>
        </p:nvSpPr>
        <p:spPr>
          <a:xfrm>
            <a:off x="6263456" y="1700808"/>
            <a:ext cx="4105019" cy="41050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a:p>
        </p:txBody>
      </p:sp>
      <p:sp>
        <p:nvSpPr>
          <p:cNvPr id="9" name="Picture Placeholder 8"/>
          <p:cNvSpPr>
            <a:spLocks noGrp="1" noChangeAspect="1"/>
          </p:cNvSpPr>
          <p:nvPr>
            <p:ph type="pic" sz="quarter" idx="13"/>
          </p:nvPr>
        </p:nvSpPr>
        <p:spPr>
          <a:xfrm>
            <a:off x="6263437" y="1700808"/>
            <a:ext cx="4105209" cy="4105209"/>
          </a:xfrm>
          <a:prstGeom prst="pie">
            <a:avLst>
              <a:gd name="adj1" fmla="val 8070460"/>
              <a:gd name="adj2" fmla="val 18987973"/>
            </a:avLst>
          </a:prstGeom>
        </p:spPr>
        <p:txBody>
          <a:bodyPr anchor="ctr">
            <a:normAutofit/>
          </a:bodyPr>
          <a:lstStyle>
            <a:lvl1pPr>
              <a:defRPr sz="1333" b="0">
                <a:solidFill>
                  <a:schemeClr val="accent4"/>
                </a:solidFill>
              </a:defRPr>
            </a:lvl1pPr>
          </a:lstStyle>
          <a:p>
            <a:r>
              <a:rPr lang="en-US"/>
              <a:t>Click icon to add picture</a:t>
            </a:r>
            <a:endParaRPr lang="en-GB"/>
          </a:p>
        </p:txBody>
      </p:sp>
      <p:sp>
        <p:nvSpPr>
          <p:cNvPr id="10" name="Picture Placeholder 8"/>
          <p:cNvSpPr>
            <a:spLocks noGrp="1" noChangeAspect="1"/>
          </p:cNvSpPr>
          <p:nvPr>
            <p:ph type="pic" sz="quarter" idx="14"/>
          </p:nvPr>
        </p:nvSpPr>
        <p:spPr>
          <a:xfrm>
            <a:off x="6263437" y="1700808"/>
            <a:ext cx="4105209" cy="4105209"/>
          </a:xfrm>
          <a:prstGeom prst="pie">
            <a:avLst>
              <a:gd name="adj1" fmla="val 2675656"/>
              <a:gd name="adj2" fmla="val 8096857"/>
            </a:avLst>
          </a:prstGeom>
        </p:spPr>
        <p:txBody>
          <a:bodyPr anchor="ctr">
            <a:normAutofit/>
          </a:bodyPr>
          <a:lstStyle>
            <a:lvl1pPr>
              <a:defRPr sz="1333" b="0">
                <a:solidFill>
                  <a:schemeClr val="accent4"/>
                </a:solidFill>
              </a:defRPr>
            </a:lvl1pPr>
          </a:lstStyle>
          <a:p>
            <a:r>
              <a:rPr lang="en-US"/>
              <a:t>Click icon to add picture</a:t>
            </a:r>
            <a:endParaRPr lang="en-GB"/>
          </a:p>
        </p:txBody>
      </p:sp>
      <p:cxnSp>
        <p:nvCxnSpPr>
          <p:cNvPr id="12" name="Straight Connector 11" hidden="1"/>
          <p:cNvCxnSpPr/>
          <p:nvPr userDrawn="1"/>
        </p:nvCxnSpPr>
        <p:spPr>
          <a:xfrm flipH="1">
            <a:off x="6576054" y="1604797"/>
            <a:ext cx="3936437" cy="3888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hidden="1"/>
          <p:cNvCxnSpPr/>
          <p:nvPr userDrawn="1"/>
        </p:nvCxnSpPr>
        <p:spPr>
          <a:xfrm>
            <a:off x="6576054" y="1604797"/>
            <a:ext cx="3936437" cy="3888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Picture Placeholder 8"/>
          <p:cNvSpPr>
            <a:spLocks noGrp="1" noChangeAspect="1"/>
          </p:cNvSpPr>
          <p:nvPr>
            <p:ph type="pic" sz="quarter" idx="15"/>
          </p:nvPr>
        </p:nvSpPr>
        <p:spPr>
          <a:xfrm>
            <a:off x="6263437" y="1700808"/>
            <a:ext cx="4105209" cy="4105209"/>
          </a:xfrm>
          <a:prstGeom prst="pie">
            <a:avLst>
              <a:gd name="adj1" fmla="val 18979183"/>
              <a:gd name="adj2" fmla="val 2698856"/>
            </a:avLst>
          </a:prstGeom>
        </p:spPr>
        <p:txBody>
          <a:bodyPr anchor="ctr">
            <a:normAutofit/>
          </a:bodyPr>
          <a:lstStyle>
            <a:lvl1pPr>
              <a:defRPr sz="1333" b="0">
                <a:solidFill>
                  <a:schemeClr val="accent4"/>
                </a:solidFill>
              </a:defRPr>
            </a:lvl1pPr>
          </a:lstStyle>
          <a:p>
            <a:r>
              <a:rPr lang="en-US"/>
              <a:t>Click icon to add picture</a:t>
            </a:r>
            <a:endParaRPr lang="en-GB"/>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31372" y="668347"/>
            <a:ext cx="911857" cy="55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userDrawn="1"/>
        </p:nvSpPr>
        <p:spPr>
          <a:xfrm>
            <a:off x="287355" y="5973283"/>
            <a:ext cx="768085" cy="535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0" name="Text Placeholder 19"/>
          <p:cNvSpPr>
            <a:spLocks noGrp="1"/>
          </p:cNvSpPr>
          <p:nvPr>
            <p:ph type="body" sz="quarter" idx="16" hasCustomPrompt="1"/>
          </p:nvPr>
        </p:nvSpPr>
        <p:spPr>
          <a:xfrm>
            <a:off x="431372" y="3717033"/>
            <a:ext cx="4896185" cy="912119"/>
          </a:xfrm>
        </p:spPr>
        <p:txBody>
          <a:bodyPr/>
          <a:lstStyle>
            <a:lvl1pPr>
              <a:defRPr sz="2133" b="0">
                <a:solidFill>
                  <a:schemeClr val="accent4"/>
                </a:solidFill>
              </a:defRPr>
            </a:lvl1pPr>
          </a:lstStyle>
          <a:p>
            <a:pPr lvl="0"/>
            <a:r>
              <a:rPr lang="en-US"/>
              <a:t>Add subtitle here</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1"/>
          </p:nvPr>
        </p:nvSpPr>
        <p:spPr>
          <a:xfrm>
            <a:off x="431371" y="6261315"/>
            <a:ext cx="4896280" cy="149101"/>
          </a:xfrm>
        </p:spPr>
        <p:txBody>
          <a:bodyPr lIns="0"/>
          <a:lstStyle/>
          <a:p>
            <a:endParaRPr lang="en-GB"/>
          </a:p>
        </p:txBody>
      </p:sp>
      <p:pic>
        <p:nvPicPr>
          <p:cNvPr id="30" name="Picture 29" descr="IIP_LOGO_BLAC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12586" y="5335637"/>
            <a:ext cx="1916401" cy="588884"/>
          </a:xfrm>
          <a:prstGeom prst="rect">
            <a:avLst/>
          </a:prstGeom>
        </p:spPr>
      </p:pic>
      <p:pic>
        <p:nvPicPr>
          <p:cNvPr id="31" name="Picture 30" descr="By royal charter.JP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27784" y="5238877"/>
            <a:ext cx="829729" cy="782400"/>
          </a:xfrm>
          <a:prstGeom prst="rect">
            <a:avLst/>
          </a:prstGeom>
        </p:spPr>
      </p:pic>
      <p:pic>
        <p:nvPicPr>
          <p:cNvPr id="32" name="Picture 2"/>
          <p:cNvPicPr>
            <a:picLocks noChangeAspect="1" noChangeArrowheads="1"/>
          </p:cNvPicPr>
          <p:nvPr userDrawn="1"/>
        </p:nvPicPr>
        <p:blipFill>
          <a:blip r:embed="rId5" cstate="screen">
            <a:extLst>
              <a:ext uri="{28A0092B-C50C-407E-A947-70E740481C1C}">
                <a14:useLocalDpi xmlns:a14="http://schemas.microsoft.com/office/drawing/2010/main"/>
              </a:ext>
            </a:extLst>
          </a:blip>
          <a:stretch>
            <a:fillRect/>
          </a:stretch>
        </p:blipFill>
        <p:spPr bwMode="auto">
          <a:xfrm>
            <a:off x="431371" y="5238867"/>
            <a:ext cx="782421" cy="7824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9516757"/>
      </p:ext>
    </p:extLst>
  </p:cSld>
  <p:clrMapOvr>
    <a:masterClrMapping/>
  </p:clrMapOvr>
  <p:transition>
    <p:fade thruBlk="1"/>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slide 2  (excluding UK) 2 image segments">
    <p:spTree>
      <p:nvGrpSpPr>
        <p:cNvPr id="1" name=""/>
        <p:cNvGrpSpPr/>
        <p:nvPr/>
      </p:nvGrpSpPr>
      <p:grpSpPr>
        <a:xfrm>
          <a:off x="0" y="0"/>
          <a:ext cx="0" cy="0"/>
          <a:chOff x="0" y="0"/>
          <a:chExt cx="0" cy="0"/>
        </a:xfrm>
      </p:grpSpPr>
      <p:sp>
        <p:nvSpPr>
          <p:cNvPr id="6" name="Right Triangle 5"/>
          <p:cNvSpPr>
            <a:spLocks noChangeAspect="1"/>
          </p:cNvSpPr>
          <p:nvPr userDrawn="1"/>
        </p:nvSpPr>
        <p:spPr>
          <a:xfrm flipH="1">
            <a:off x="5183899" y="0"/>
            <a:ext cx="7008101" cy="685800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title" hasCustomPrompt="1"/>
          </p:nvPr>
        </p:nvSpPr>
        <p:spPr>
          <a:xfrm>
            <a:off x="431371" y="1689600"/>
            <a:ext cx="4896280" cy="1824203"/>
          </a:xfrm>
        </p:spPr>
        <p:txBody>
          <a:bodyPr anchor="b">
            <a:noAutofit/>
          </a:bodyPr>
          <a:lstStyle>
            <a:lvl1pPr>
              <a:defRPr sz="3733" baseline="0">
                <a:solidFill>
                  <a:schemeClr val="accent2"/>
                </a:solidFill>
              </a:defRPr>
            </a:lvl1pPr>
          </a:lstStyle>
          <a:p>
            <a:r>
              <a:rPr lang="en-US"/>
              <a:t>Click to edit presentation title</a:t>
            </a:r>
            <a:endParaRPr lang="en-GB"/>
          </a:p>
        </p:txBody>
      </p:sp>
      <p:sp>
        <p:nvSpPr>
          <p:cNvPr id="3" name="Date Placeholder 2"/>
          <p:cNvSpPr>
            <a:spLocks noGrp="1"/>
          </p:cNvSpPr>
          <p:nvPr>
            <p:ph type="dt" sz="half" idx="10"/>
          </p:nvPr>
        </p:nvSpPr>
        <p:spPr/>
        <p:txBody>
          <a:bodyPr/>
          <a:lstStyle>
            <a:lvl1pPr>
              <a:defRPr>
                <a:solidFill>
                  <a:schemeClr val="bg1"/>
                </a:solidFill>
              </a:defRPr>
            </a:lvl1p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
        <p:nvSpPr>
          <p:cNvPr id="7" name="Oval 6" hidden="1"/>
          <p:cNvSpPr/>
          <p:nvPr userDrawn="1"/>
        </p:nvSpPr>
        <p:spPr>
          <a:xfrm>
            <a:off x="6263456" y="1700808"/>
            <a:ext cx="4105019" cy="41050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a:p>
        </p:txBody>
      </p:sp>
      <p:sp>
        <p:nvSpPr>
          <p:cNvPr id="9" name="Picture Placeholder 8"/>
          <p:cNvSpPr>
            <a:spLocks noGrp="1" noChangeAspect="1"/>
          </p:cNvSpPr>
          <p:nvPr>
            <p:ph type="pic" sz="quarter" idx="13"/>
          </p:nvPr>
        </p:nvSpPr>
        <p:spPr>
          <a:xfrm>
            <a:off x="6263437" y="1700808"/>
            <a:ext cx="4105209" cy="4105209"/>
          </a:xfrm>
          <a:prstGeom prst="pie">
            <a:avLst>
              <a:gd name="adj1" fmla="val 8070460"/>
              <a:gd name="adj2" fmla="val 18987973"/>
            </a:avLst>
          </a:prstGeom>
        </p:spPr>
        <p:txBody>
          <a:bodyPr anchor="ctr">
            <a:normAutofit/>
          </a:bodyPr>
          <a:lstStyle>
            <a:lvl1pPr>
              <a:defRPr sz="1333" b="0">
                <a:solidFill>
                  <a:schemeClr val="accent4"/>
                </a:solidFill>
              </a:defRPr>
            </a:lvl1pPr>
          </a:lstStyle>
          <a:p>
            <a:r>
              <a:rPr lang="en-US"/>
              <a:t>Click icon to add picture</a:t>
            </a:r>
            <a:endParaRPr lang="en-GB"/>
          </a:p>
        </p:txBody>
      </p:sp>
      <p:sp>
        <p:nvSpPr>
          <p:cNvPr id="10" name="Picture Placeholder 8"/>
          <p:cNvSpPr>
            <a:spLocks noGrp="1" noChangeAspect="1"/>
          </p:cNvSpPr>
          <p:nvPr>
            <p:ph type="pic" sz="quarter" idx="14"/>
          </p:nvPr>
        </p:nvSpPr>
        <p:spPr>
          <a:xfrm>
            <a:off x="6263437" y="1700808"/>
            <a:ext cx="4105209" cy="4105209"/>
          </a:xfrm>
          <a:prstGeom prst="pie">
            <a:avLst>
              <a:gd name="adj1" fmla="val 18985250"/>
              <a:gd name="adj2" fmla="val 8096857"/>
            </a:avLst>
          </a:prstGeom>
        </p:spPr>
        <p:txBody>
          <a:bodyPr anchor="ctr">
            <a:normAutofit/>
          </a:bodyPr>
          <a:lstStyle>
            <a:lvl1pPr>
              <a:defRPr sz="1333" b="0">
                <a:solidFill>
                  <a:schemeClr val="accent4"/>
                </a:solidFill>
              </a:defRPr>
            </a:lvl1pPr>
          </a:lstStyle>
          <a:p>
            <a:r>
              <a:rPr lang="en-US"/>
              <a:t>Click icon to add picture</a:t>
            </a:r>
            <a:endParaRPr lang="en-GB"/>
          </a:p>
        </p:txBody>
      </p:sp>
      <p:cxnSp>
        <p:nvCxnSpPr>
          <p:cNvPr id="12" name="Straight Connector 11" hidden="1"/>
          <p:cNvCxnSpPr/>
          <p:nvPr userDrawn="1"/>
        </p:nvCxnSpPr>
        <p:spPr>
          <a:xfrm flipH="1">
            <a:off x="6576054" y="1604797"/>
            <a:ext cx="3936437" cy="3888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hidden="1"/>
          <p:cNvCxnSpPr/>
          <p:nvPr userDrawn="1"/>
        </p:nvCxnSpPr>
        <p:spPr>
          <a:xfrm>
            <a:off x="6576054" y="1604797"/>
            <a:ext cx="3936437" cy="3888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31372" y="668347"/>
            <a:ext cx="911857" cy="55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userDrawn="1"/>
        </p:nvSpPr>
        <p:spPr>
          <a:xfrm>
            <a:off x="287355" y="5973283"/>
            <a:ext cx="768085" cy="535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0" name="Text Placeholder 19"/>
          <p:cNvSpPr>
            <a:spLocks noGrp="1"/>
          </p:cNvSpPr>
          <p:nvPr>
            <p:ph type="body" sz="quarter" idx="16" hasCustomPrompt="1"/>
          </p:nvPr>
        </p:nvSpPr>
        <p:spPr>
          <a:xfrm>
            <a:off x="431372" y="3717033"/>
            <a:ext cx="4896185" cy="912119"/>
          </a:xfrm>
        </p:spPr>
        <p:txBody>
          <a:bodyPr/>
          <a:lstStyle>
            <a:lvl1pPr>
              <a:defRPr sz="2133" b="0">
                <a:solidFill>
                  <a:schemeClr val="accent4"/>
                </a:solidFill>
              </a:defRPr>
            </a:lvl1pPr>
          </a:lstStyle>
          <a:p>
            <a:pPr lvl="0"/>
            <a:r>
              <a:rPr lang="en-US"/>
              <a:t>Add subtitle here</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1"/>
          </p:nvPr>
        </p:nvSpPr>
        <p:spPr>
          <a:xfrm>
            <a:off x="431371" y="6261315"/>
            <a:ext cx="4896280" cy="149101"/>
          </a:xfrm>
        </p:spPr>
        <p:txBody>
          <a:bodyPr lIns="0"/>
          <a:lstStyle/>
          <a:p>
            <a:endParaRPr lang="en-GB"/>
          </a:p>
        </p:txBody>
      </p:sp>
      <p:pic>
        <p:nvPicPr>
          <p:cNvPr id="30" name="Picture 29" descr="IIP_LOGO_BLAC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12586" y="5335637"/>
            <a:ext cx="1916401" cy="588884"/>
          </a:xfrm>
          <a:prstGeom prst="rect">
            <a:avLst/>
          </a:prstGeom>
        </p:spPr>
      </p:pic>
      <p:pic>
        <p:nvPicPr>
          <p:cNvPr id="31" name="Picture 30" descr="By royal charter.JP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27784" y="5238877"/>
            <a:ext cx="829729" cy="782400"/>
          </a:xfrm>
          <a:prstGeom prst="rect">
            <a:avLst/>
          </a:prstGeom>
        </p:spPr>
      </p:pic>
      <p:pic>
        <p:nvPicPr>
          <p:cNvPr id="32" name="Picture 2"/>
          <p:cNvPicPr>
            <a:picLocks noChangeAspect="1" noChangeArrowheads="1"/>
          </p:cNvPicPr>
          <p:nvPr userDrawn="1"/>
        </p:nvPicPr>
        <p:blipFill>
          <a:blip r:embed="rId5" cstate="screen">
            <a:extLst>
              <a:ext uri="{28A0092B-C50C-407E-A947-70E740481C1C}">
                <a14:useLocalDpi xmlns:a14="http://schemas.microsoft.com/office/drawing/2010/main"/>
              </a:ext>
            </a:extLst>
          </a:blip>
          <a:stretch>
            <a:fillRect/>
          </a:stretch>
        </p:blipFill>
        <p:spPr bwMode="auto">
          <a:xfrm>
            <a:off x="431371" y="5238867"/>
            <a:ext cx="782421" cy="7824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8157643"/>
      </p:ext>
    </p:extLst>
  </p:cSld>
  <p:clrMapOvr>
    <a:masterClrMapping/>
  </p:clrMapOvr>
  <p:transition>
    <p:fade thruBlk="1"/>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 slide 2 (excluding UK)">
    <p:spTree>
      <p:nvGrpSpPr>
        <p:cNvPr id="1" name=""/>
        <p:cNvGrpSpPr/>
        <p:nvPr/>
      </p:nvGrpSpPr>
      <p:grpSpPr>
        <a:xfrm>
          <a:off x="0" y="0"/>
          <a:ext cx="0" cy="0"/>
          <a:chOff x="0" y="0"/>
          <a:chExt cx="0" cy="0"/>
        </a:xfrm>
      </p:grpSpPr>
      <p:sp>
        <p:nvSpPr>
          <p:cNvPr id="6" name="Pie 5"/>
          <p:cNvSpPr>
            <a:spLocks noChangeAspect="1"/>
          </p:cNvSpPr>
          <p:nvPr userDrawn="1"/>
        </p:nvSpPr>
        <p:spPr>
          <a:xfrm flipH="1">
            <a:off x="5337203" y="0"/>
            <a:ext cx="13720237" cy="13718400"/>
          </a:xfrm>
          <a:prstGeom prst="pie">
            <a:avLst>
              <a:gd name="adj1" fmla="val 16192984"/>
              <a:gd name="adj2" fmla="val 55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title" hasCustomPrompt="1"/>
          </p:nvPr>
        </p:nvSpPr>
        <p:spPr>
          <a:xfrm>
            <a:off x="431371" y="1689600"/>
            <a:ext cx="4896280" cy="1824203"/>
          </a:xfrm>
        </p:spPr>
        <p:txBody>
          <a:bodyPr anchor="b">
            <a:noAutofit/>
          </a:bodyPr>
          <a:lstStyle>
            <a:lvl1pPr>
              <a:defRPr sz="3733" baseline="0">
                <a:solidFill>
                  <a:schemeClr val="accent2"/>
                </a:solidFill>
              </a:defRPr>
            </a:lvl1pPr>
          </a:lstStyle>
          <a:p>
            <a:r>
              <a:rPr lang="en-US"/>
              <a:t>Click to edit presentation title</a:t>
            </a:r>
            <a:endParaRPr lang="en-GB"/>
          </a:p>
        </p:txBody>
      </p:sp>
      <p:sp>
        <p:nvSpPr>
          <p:cNvPr id="3" name="Date Placeholder 2"/>
          <p:cNvSpPr>
            <a:spLocks noGrp="1"/>
          </p:cNvSpPr>
          <p:nvPr>
            <p:ph type="dt" sz="half" idx="10"/>
          </p:nvPr>
        </p:nvSpPr>
        <p:spPr/>
        <p:txBody>
          <a:bodyPr/>
          <a:lstStyle>
            <a:lvl1pPr>
              <a:defRPr>
                <a:solidFill>
                  <a:schemeClr val="bg1"/>
                </a:solidFill>
              </a:defRPr>
            </a:lvl1p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
        <p:nvSpPr>
          <p:cNvPr id="16" name="Picture Placeholder 8"/>
          <p:cNvSpPr>
            <a:spLocks noGrp="1" noChangeAspect="1"/>
          </p:cNvSpPr>
          <p:nvPr>
            <p:ph type="pic" sz="quarter" idx="15" hasCustomPrompt="1"/>
          </p:nvPr>
        </p:nvSpPr>
        <p:spPr>
          <a:xfrm>
            <a:off x="5332800" y="0"/>
            <a:ext cx="13718400" cy="13718400"/>
          </a:xfrm>
          <a:prstGeom prst="pie">
            <a:avLst>
              <a:gd name="adj1" fmla="val 10796764"/>
              <a:gd name="adj2" fmla="val 13497774"/>
            </a:avLst>
          </a:prstGeom>
        </p:spPr>
        <p:txBody>
          <a:bodyPr tIns="1800000" anchor="t">
            <a:normAutofit/>
          </a:bodyPr>
          <a:lstStyle>
            <a:lvl1pPr marL="0" marR="0" indent="0" algn="l" defTabSz="1219170" rtl="0" eaLnBrk="1" fontAlgn="auto" latinLnBrk="0" hangingPunct="1">
              <a:lnSpc>
                <a:spcPct val="100000"/>
              </a:lnSpc>
              <a:spcBef>
                <a:spcPts val="533"/>
              </a:spcBef>
              <a:spcAft>
                <a:spcPts val="533"/>
              </a:spcAft>
              <a:buClrTx/>
              <a:buSzTx/>
              <a:buFont typeface="Arial" pitchFamily="34" charset="0"/>
              <a:buNone/>
              <a:tabLst/>
              <a:defRPr sz="1333" b="0">
                <a:solidFill>
                  <a:schemeClr val="bg1"/>
                </a:solidFill>
              </a:defRPr>
            </a:lvl1pPr>
          </a:lstStyle>
          <a:p>
            <a:r>
              <a:rPr lang="en-GB"/>
              <a:t>Click icon in bottom corner of slide to add pictur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31372" y="668347"/>
            <a:ext cx="911857" cy="55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userDrawn="1"/>
        </p:nvSpPr>
        <p:spPr>
          <a:xfrm>
            <a:off x="287355" y="5973283"/>
            <a:ext cx="672075" cy="535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0" name="Text Placeholder 19"/>
          <p:cNvSpPr>
            <a:spLocks noGrp="1"/>
          </p:cNvSpPr>
          <p:nvPr>
            <p:ph type="body" sz="quarter" idx="16" hasCustomPrompt="1"/>
          </p:nvPr>
        </p:nvSpPr>
        <p:spPr>
          <a:xfrm>
            <a:off x="431372" y="3717033"/>
            <a:ext cx="4896185" cy="912119"/>
          </a:xfrm>
        </p:spPr>
        <p:txBody>
          <a:bodyPr/>
          <a:lstStyle>
            <a:lvl1pPr>
              <a:defRPr sz="2133" b="0">
                <a:solidFill>
                  <a:schemeClr val="accent4"/>
                </a:solidFill>
              </a:defRPr>
            </a:lvl1pPr>
          </a:lstStyle>
          <a:p>
            <a:pPr lvl="0"/>
            <a:r>
              <a:rPr lang="en-US"/>
              <a:t>Add subtitle here</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1"/>
          </p:nvPr>
        </p:nvSpPr>
        <p:spPr>
          <a:xfrm>
            <a:off x="431371" y="6261315"/>
            <a:ext cx="4905832" cy="149101"/>
          </a:xfrm>
        </p:spPr>
        <p:txBody>
          <a:bodyPr lIns="0"/>
          <a:lstStyle/>
          <a:p>
            <a:endParaRPr lang="en-GB"/>
          </a:p>
        </p:txBody>
      </p:sp>
      <p:pic>
        <p:nvPicPr>
          <p:cNvPr id="25" name="Picture 24" descr="IIP_LOGO_BLAC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12586" y="5335637"/>
            <a:ext cx="1916401" cy="588884"/>
          </a:xfrm>
          <a:prstGeom prst="rect">
            <a:avLst/>
          </a:prstGeom>
        </p:spPr>
      </p:pic>
      <p:pic>
        <p:nvPicPr>
          <p:cNvPr id="26" name="Picture 25" descr="By royal charter.JP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27784" y="5238877"/>
            <a:ext cx="829729" cy="782400"/>
          </a:xfrm>
          <a:prstGeom prst="rect">
            <a:avLst/>
          </a:prstGeom>
        </p:spPr>
      </p:pic>
      <p:pic>
        <p:nvPicPr>
          <p:cNvPr id="27" name="Picture 2"/>
          <p:cNvPicPr>
            <a:picLocks noChangeAspect="1" noChangeArrowheads="1"/>
          </p:cNvPicPr>
          <p:nvPr userDrawn="1"/>
        </p:nvPicPr>
        <p:blipFill>
          <a:blip r:embed="rId5" cstate="screen">
            <a:extLst>
              <a:ext uri="{28A0092B-C50C-407E-A947-70E740481C1C}">
                <a14:useLocalDpi xmlns:a14="http://schemas.microsoft.com/office/drawing/2010/main"/>
              </a:ext>
            </a:extLst>
          </a:blip>
          <a:stretch>
            <a:fillRect/>
          </a:stretch>
        </p:blipFill>
        <p:spPr bwMode="auto">
          <a:xfrm>
            <a:off x="431371" y="5238867"/>
            <a:ext cx="782421" cy="7824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3261108"/>
      </p:ext>
    </p:extLst>
  </p:cSld>
  <p:clrMapOvr>
    <a:masterClrMapping/>
  </p:clrMapOvr>
  <p:transition>
    <p:fade thruBlk="1"/>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ver slide 1 (for UK use only ###) 3 image segments">
    <p:spTree>
      <p:nvGrpSpPr>
        <p:cNvPr id="1" name=""/>
        <p:cNvGrpSpPr/>
        <p:nvPr/>
      </p:nvGrpSpPr>
      <p:grpSpPr>
        <a:xfrm>
          <a:off x="0" y="0"/>
          <a:ext cx="0" cy="0"/>
          <a:chOff x="0" y="0"/>
          <a:chExt cx="0" cy="0"/>
        </a:xfrm>
      </p:grpSpPr>
      <p:sp>
        <p:nvSpPr>
          <p:cNvPr id="6" name="Right Triangle 5"/>
          <p:cNvSpPr>
            <a:spLocks noChangeAspect="1"/>
          </p:cNvSpPr>
          <p:nvPr userDrawn="1"/>
        </p:nvSpPr>
        <p:spPr>
          <a:xfrm flipH="1">
            <a:off x="5183899" y="0"/>
            <a:ext cx="7008101" cy="685800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title" hasCustomPrompt="1"/>
          </p:nvPr>
        </p:nvSpPr>
        <p:spPr>
          <a:xfrm>
            <a:off x="431371" y="1689600"/>
            <a:ext cx="4896280" cy="1824203"/>
          </a:xfrm>
        </p:spPr>
        <p:txBody>
          <a:bodyPr anchor="b">
            <a:noAutofit/>
          </a:bodyPr>
          <a:lstStyle>
            <a:lvl1pPr>
              <a:defRPr sz="3733" baseline="0">
                <a:solidFill>
                  <a:schemeClr val="accent2"/>
                </a:solidFill>
              </a:defRPr>
            </a:lvl1pPr>
          </a:lstStyle>
          <a:p>
            <a:r>
              <a:rPr lang="en-US"/>
              <a:t>Click to edit presentation title</a:t>
            </a:r>
            <a:endParaRPr lang="en-GB"/>
          </a:p>
        </p:txBody>
      </p:sp>
      <p:sp>
        <p:nvSpPr>
          <p:cNvPr id="3" name="Date Placeholder 2"/>
          <p:cNvSpPr>
            <a:spLocks noGrp="1"/>
          </p:cNvSpPr>
          <p:nvPr>
            <p:ph type="dt" sz="half" idx="10"/>
          </p:nvPr>
        </p:nvSpPr>
        <p:spPr/>
        <p:txBody>
          <a:bodyPr/>
          <a:lstStyle>
            <a:lvl1pPr>
              <a:defRPr>
                <a:solidFill>
                  <a:schemeClr val="bg1"/>
                </a:solidFill>
              </a:defRPr>
            </a:lvl1p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
        <p:nvSpPr>
          <p:cNvPr id="7" name="Oval 6" hidden="1"/>
          <p:cNvSpPr/>
          <p:nvPr userDrawn="1"/>
        </p:nvSpPr>
        <p:spPr>
          <a:xfrm>
            <a:off x="6263456" y="1700808"/>
            <a:ext cx="4105019" cy="41050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a:p>
        </p:txBody>
      </p:sp>
      <p:sp>
        <p:nvSpPr>
          <p:cNvPr id="9" name="Picture Placeholder 8"/>
          <p:cNvSpPr>
            <a:spLocks noGrp="1" noChangeAspect="1"/>
          </p:cNvSpPr>
          <p:nvPr>
            <p:ph type="pic" sz="quarter" idx="13"/>
          </p:nvPr>
        </p:nvSpPr>
        <p:spPr>
          <a:xfrm>
            <a:off x="6263437" y="1700808"/>
            <a:ext cx="4105209" cy="4105209"/>
          </a:xfrm>
          <a:prstGeom prst="pie">
            <a:avLst>
              <a:gd name="adj1" fmla="val 8070460"/>
              <a:gd name="adj2" fmla="val 18987973"/>
            </a:avLst>
          </a:prstGeom>
        </p:spPr>
        <p:txBody>
          <a:bodyPr anchor="ctr">
            <a:normAutofit/>
          </a:bodyPr>
          <a:lstStyle>
            <a:lvl1pPr>
              <a:defRPr sz="1333" b="0">
                <a:solidFill>
                  <a:schemeClr val="accent4"/>
                </a:solidFill>
              </a:defRPr>
            </a:lvl1pPr>
          </a:lstStyle>
          <a:p>
            <a:r>
              <a:rPr lang="en-US"/>
              <a:t>Click icon to add picture</a:t>
            </a:r>
            <a:endParaRPr lang="en-GB"/>
          </a:p>
        </p:txBody>
      </p:sp>
      <p:sp>
        <p:nvSpPr>
          <p:cNvPr id="10" name="Picture Placeholder 8"/>
          <p:cNvSpPr>
            <a:spLocks noGrp="1" noChangeAspect="1"/>
          </p:cNvSpPr>
          <p:nvPr>
            <p:ph type="pic" sz="quarter" idx="14"/>
          </p:nvPr>
        </p:nvSpPr>
        <p:spPr>
          <a:xfrm>
            <a:off x="6263437" y="1700808"/>
            <a:ext cx="4105209" cy="4105209"/>
          </a:xfrm>
          <a:prstGeom prst="pie">
            <a:avLst>
              <a:gd name="adj1" fmla="val 2675656"/>
              <a:gd name="adj2" fmla="val 8096857"/>
            </a:avLst>
          </a:prstGeom>
        </p:spPr>
        <p:txBody>
          <a:bodyPr anchor="ctr">
            <a:normAutofit/>
          </a:bodyPr>
          <a:lstStyle>
            <a:lvl1pPr>
              <a:defRPr sz="1333" b="0">
                <a:solidFill>
                  <a:schemeClr val="accent4"/>
                </a:solidFill>
              </a:defRPr>
            </a:lvl1pPr>
          </a:lstStyle>
          <a:p>
            <a:r>
              <a:rPr lang="en-US"/>
              <a:t>Click icon to add picture</a:t>
            </a:r>
            <a:endParaRPr lang="en-GB"/>
          </a:p>
        </p:txBody>
      </p:sp>
      <p:cxnSp>
        <p:nvCxnSpPr>
          <p:cNvPr id="12" name="Straight Connector 11" hidden="1"/>
          <p:cNvCxnSpPr/>
          <p:nvPr userDrawn="1"/>
        </p:nvCxnSpPr>
        <p:spPr>
          <a:xfrm flipH="1">
            <a:off x="6576054" y="1604797"/>
            <a:ext cx="3936437" cy="3888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hidden="1"/>
          <p:cNvCxnSpPr/>
          <p:nvPr userDrawn="1"/>
        </p:nvCxnSpPr>
        <p:spPr>
          <a:xfrm>
            <a:off x="6576054" y="1604797"/>
            <a:ext cx="3936437" cy="3888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Picture Placeholder 8"/>
          <p:cNvSpPr>
            <a:spLocks noGrp="1" noChangeAspect="1"/>
          </p:cNvSpPr>
          <p:nvPr>
            <p:ph type="pic" sz="quarter" idx="15"/>
          </p:nvPr>
        </p:nvSpPr>
        <p:spPr>
          <a:xfrm>
            <a:off x="6263437" y="1700808"/>
            <a:ext cx="4105209" cy="4105209"/>
          </a:xfrm>
          <a:prstGeom prst="pie">
            <a:avLst>
              <a:gd name="adj1" fmla="val 18979183"/>
              <a:gd name="adj2" fmla="val 2698856"/>
            </a:avLst>
          </a:prstGeom>
        </p:spPr>
        <p:txBody>
          <a:bodyPr anchor="ctr">
            <a:normAutofit/>
          </a:bodyPr>
          <a:lstStyle>
            <a:lvl1pPr>
              <a:defRPr sz="1333" b="0">
                <a:solidFill>
                  <a:schemeClr val="accent4"/>
                </a:solidFill>
              </a:defRPr>
            </a:lvl1pPr>
          </a:lstStyle>
          <a:p>
            <a:r>
              <a:rPr lang="en-US"/>
              <a:t>Click icon to add picture</a:t>
            </a:r>
            <a:endParaRPr lang="en-GB"/>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31372" y="668347"/>
            <a:ext cx="911857" cy="55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userDrawn="1"/>
        </p:nvSpPr>
        <p:spPr>
          <a:xfrm>
            <a:off x="287355" y="5973283"/>
            <a:ext cx="768085" cy="535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0" name="Text Placeholder 19"/>
          <p:cNvSpPr>
            <a:spLocks noGrp="1"/>
          </p:cNvSpPr>
          <p:nvPr>
            <p:ph type="body" sz="quarter" idx="16" hasCustomPrompt="1"/>
          </p:nvPr>
        </p:nvSpPr>
        <p:spPr>
          <a:xfrm>
            <a:off x="431372" y="3717033"/>
            <a:ext cx="4896185" cy="912119"/>
          </a:xfrm>
        </p:spPr>
        <p:txBody>
          <a:bodyPr/>
          <a:lstStyle>
            <a:lvl1pPr>
              <a:defRPr sz="2133" b="0">
                <a:solidFill>
                  <a:schemeClr val="accent4"/>
                </a:solidFill>
              </a:defRPr>
            </a:lvl1pPr>
          </a:lstStyle>
          <a:p>
            <a:pPr lvl="0"/>
            <a:r>
              <a:rPr lang="en-US"/>
              <a:t>Add subtitle here</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1"/>
          </p:nvPr>
        </p:nvSpPr>
        <p:spPr>
          <a:xfrm>
            <a:off x="431371" y="6261315"/>
            <a:ext cx="4896280" cy="149101"/>
          </a:xfrm>
        </p:spPr>
        <p:txBody>
          <a:bodyPr lIns="0"/>
          <a:lstStyle/>
          <a:p>
            <a:endParaRPr lang="en-GB"/>
          </a:p>
        </p:txBody>
      </p:sp>
      <p:pic>
        <p:nvPicPr>
          <p:cNvPr id="26" name="Picture 25" descr="By royal charter.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27784" y="5238877"/>
            <a:ext cx="829729" cy="782400"/>
          </a:xfrm>
          <a:prstGeom prst="rect">
            <a:avLst/>
          </a:prstGeom>
        </p:spPr>
      </p:pic>
      <p:pic>
        <p:nvPicPr>
          <p:cNvPr id="27" name="Picture 2"/>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431371" y="5238867"/>
            <a:ext cx="782421" cy="78242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descr="IIP-Award-Brand-Mark-Silver-(Boxed)-Pantone-877+-A.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66666" y="5379266"/>
            <a:ext cx="2208245" cy="501625"/>
          </a:xfrm>
          <a:prstGeom prst="rect">
            <a:avLst/>
          </a:prstGeom>
        </p:spPr>
      </p:pic>
    </p:spTree>
    <p:extLst>
      <p:ext uri="{BB962C8B-B14F-4D97-AF65-F5344CB8AC3E}">
        <p14:creationId xmlns:p14="http://schemas.microsoft.com/office/powerpoint/2010/main" val="111864994"/>
      </p:ext>
    </p:extLst>
  </p:cSld>
  <p:clrMapOvr>
    <a:masterClrMapping/>
  </p:clrMapOvr>
  <p:transition>
    <p:fade thruBlk="1"/>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1_BSI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p:cNvSpPr>
            <a:spLocks noGrp="1"/>
          </p:cNvSpPr>
          <p:nvPr>
            <p:ph type="sldNum" sz="quarter" idx="12"/>
          </p:nvPr>
        </p:nvSpPr>
        <p:spPr/>
        <p:txBody>
          <a:bodyPr/>
          <a:lstStyle/>
          <a:p>
            <a:fld id="{22BD14A0-459B-CA46-A763-3163F186A6C2}" type="slidenum">
              <a:rPr lang="en-US" smtClean="0"/>
              <a:t>‹#›</a:t>
            </a:fld>
            <a:endParaRPr lang="en-US"/>
          </a:p>
        </p:txBody>
      </p:sp>
    </p:spTree>
    <p:extLst>
      <p:ext uri="{BB962C8B-B14F-4D97-AF65-F5344CB8AC3E}">
        <p14:creationId xmlns:p14="http://schemas.microsoft.com/office/powerpoint/2010/main" val="42152541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 slide 2 (for UK use only ###) 2 image segments">
    <p:spTree>
      <p:nvGrpSpPr>
        <p:cNvPr id="1" name=""/>
        <p:cNvGrpSpPr/>
        <p:nvPr/>
      </p:nvGrpSpPr>
      <p:grpSpPr>
        <a:xfrm>
          <a:off x="0" y="0"/>
          <a:ext cx="0" cy="0"/>
          <a:chOff x="0" y="0"/>
          <a:chExt cx="0" cy="0"/>
        </a:xfrm>
      </p:grpSpPr>
      <p:sp>
        <p:nvSpPr>
          <p:cNvPr id="6" name="Right Triangle 5"/>
          <p:cNvSpPr>
            <a:spLocks noChangeAspect="1"/>
          </p:cNvSpPr>
          <p:nvPr userDrawn="1"/>
        </p:nvSpPr>
        <p:spPr>
          <a:xfrm flipH="1">
            <a:off x="5183899" y="0"/>
            <a:ext cx="7008101" cy="685800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title" hasCustomPrompt="1"/>
          </p:nvPr>
        </p:nvSpPr>
        <p:spPr>
          <a:xfrm>
            <a:off x="431371" y="1689600"/>
            <a:ext cx="4896280" cy="1824203"/>
          </a:xfrm>
        </p:spPr>
        <p:txBody>
          <a:bodyPr anchor="b">
            <a:noAutofit/>
          </a:bodyPr>
          <a:lstStyle>
            <a:lvl1pPr>
              <a:defRPr sz="3733" baseline="0">
                <a:solidFill>
                  <a:schemeClr val="accent2"/>
                </a:solidFill>
              </a:defRPr>
            </a:lvl1pPr>
          </a:lstStyle>
          <a:p>
            <a:r>
              <a:rPr lang="en-US"/>
              <a:t>Click to edit presentation title</a:t>
            </a:r>
            <a:endParaRPr lang="en-GB"/>
          </a:p>
        </p:txBody>
      </p:sp>
      <p:sp>
        <p:nvSpPr>
          <p:cNvPr id="3" name="Date Placeholder 2"/>
          <p:cNvSpPr>
            <a:spLocks noGrp="1"/>
          </p:cNvSpPr>
          <p:nvPr>
            <p:ph type="dt" sz="half" idx="10"/>
          </p:nvPr>
        </p:nvSpPr>
        <p:spPr/>
        <p:txBody>
          <a:bodyPr/>
          <a:lstStyle>
            <a:lvl1pPr>
              <a:defRPr>
                <a:solidFill>
                  <a:schemeClr val="bg1"/>
                </a:solidFill>
              </a:defRPr>
            </a:lvl1p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
        <p:nvSpPr>
          <p:cNvPr id="7" name="Oval 6" hidden="1"/>
          <p:cNvSpPr/>
          <p:nvPr userDrawn="1"/>
        </p:nvSpPr>
        <p:spPr>
          <a:xfrm>
            <a:off x="6263456" y="1700808"/>
            <a:ext cx="4105019" cy="41050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a:p>
        </p:txBody>
      </p:sp>
      <p:sp>
        <p:nvSpPr>
          <p:cNvPr id="9" name="Picture Placeholder 8"/>
          <p:cNvSpPr>
            <a:spLocks noGrp="1" noChangeAspect="1"/>
          </p:cNvSpPr>
          <p:nvPr>
            <p:ph type="pic" sz="quarter" idx="13"/>
          </p:nvPr>
        </p:nvSpPr>
        <p:spPr>
          <a:xfrm>
            <a:off x="6263437" y="1700808"/>
            <a:ext cx="4105209" cy="4105209"/>
          </a:xfrm>
          <a:prstGeom prst="pie">
            <a:avLst>
              <a:gd name="adj1" fmla="val 8070460"/>
              <a:gd name="adj2" fmla="val 18987973"/>
            </a:avLst>
          </a:prstGeom>
        </p:spPr>
        <p:txBody>
          <a:bodyPr anchor="ctr">
            <a:normAutofit/>
          </a:bodyPr>
          <a:lstStyle>
            <a:lvl1pPr>
              <a:defRPr sz="1333" b="0">
                <a:solidFill>
                  <a:schemeClr val="accent4"/>
                </a:solidFill>
              </a:defRPr>
            </a:lvl1pPr>
          </a:lstStyle>
          <a:p>
            <a:r>
              <a:rPr lang="en-US"/>
              <a:t>Click icon to add picture</a:t>
            </a:r>
            <a:endParaRPr lang="en-GB"/>
          </a:p>
        </p:txBody>
      </p:sp>
      <p:sp>
        <p:nvSpPr>
          <p:cNvPr id="10" name="Picture Placeholder 8"/>
          <p:cNvSpPr>
            <a:spLocks noGrp="1" noChangeAspect="1"/>
          </p:cNvSpPr>
          <p:nvPr>
            <p:ph type="pic" sz="quarter" idx="14"/>
          </p:nvPr>
        </p:nvSpPr>
        <p:spPr>
          <a:xfrm>
            <a:off x="6263437" y="1700808"/>
            <a:ext cx="4105209" cy="4105209"/>
          </a:xfrm>
          <a:prstGeom prst="pie">
            <a:avLst>
              <a:gd name="adj1" fmla="val 18985250"/>
              <a:gd name="adj2" fmla="val 8096857"/>
            </a:avLst>
          </a:prstGeom>
        </p:spPr>
        <p:txBody>
          <a:bodyPr anchor="ctr">
            <a:normAutofit/>
          </a:bodyPr>
          <a:lstStyle>
            <a:lvl1pPr>
              <a:defRPr sz="1333" b="0">
                <a:solidFill>
                  <a:schemeClr val="accent4"/>
                </a:solidFill>
              </a:defRPr>
            </a:lvl1pPr>
          </a:lstStyle>
          <a:p>
            <a:r>
              <a:rPr lang="en-US"/>
              <a:t>Click icon to add picture</a:t>
            </a:r>
            <a:endParaRPr lang="en-GB"/>
          </a:p>
        </p:txBody>
      </p:sp>
      <p:cxnSp>
        <p:nvCxnSpPr>
          <p:cNvPr id="12" name="Straight Connector 11" hidden="1"/>
          <p:cNvCxnSpPr/>
          <p:nvPr userDrawn="1"/>
        </p:nvCxnSpPr>
        <p:spPr>
          <a:xfrm flipH="1">
            <a:off x="6576054" y="1604797"/>
            <a:ext cx="3936437" cy="3888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hidden="1"/>
          <p:cNvCxnSpPr/>
          <p:nvPr userDrawn="1"/>
        </p:nvCxnSpPr>
        <p:spPr>
          <a:xfrm>
            <a:off x="6576054" y="1604797"/>
            <a:ext cx="3936437" cy="3888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31372" y="668347"/>
            <a:ext cx="911857" cy="55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userDrawn="1"/>
        </p:nvSpPr>
        <p:spPr>
          <a:xfrm>
            <a:off x="287355" y="5973283"/>
            <a:ext cx="768085" cy="535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0" name="Text Placeholder 19"/>
          <p:cNvSpPr>
            <a:spLocks noGrp="1"/>
          </p:cNvSpPr>
          <p:nvPr>
            <p:ph type="body" sz="quarter" idx="16" hasCustomPrompt="1"/>
          </p:nvPr>
        </p:nvSpPr>
        <p:spPr>
          <a:xfrm>
            <a:off x="431372" y="3717033"/>
            <a:ext cx="4896185" cy="912119"/>
          </a:xfrm>
        </p:spPr>
        <p:txBody>
          <a:bodyPr/>
          <a:lstStyle>
            <a:lvl1pPr>
              <a:defRPr sz="2133" b="0">
                <a:solidFill>
                  <a:schemeClr val="accent4"/>
                </a:solidFill>
              </a:defRPr>
            </a:lvl1pPr>
          </a:lstStyle>
          <a:p>
            <a:pPr lvl="0"/>
            <a:r>
              <a:rPr lang="en-US"/>
              <a:t>Add subtitle here</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1"/>
          </p:nvPr>
        </p:nvSpPr>
        <p:spPr>
          <a:xfrm>
            <a:off x="431371" y="6261315"/>
            <a:ext cx="4896280" cy="149101"/>
          </a:xfrm>
        </p:spPr>
        <p:txBody>
          <a:bodyPr lIns="0"/>
          <a:lstStyle/>
          <a:p>
            <a:endParaRPr lang="en-GB"/>
          </a:p>
        </p:txBody>
      </p:sp>
      <p:pic>
        <p:nvPicPr>
          <p:cNvPr id="25" name="Picture 24" descr="By royal charter.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27784" y="5238877"/>
            <a:ext cx="829729" cy="782400"/>
          </a:xfrm>
          <a:prstGeom prst="rect">
            <a:avLst/>
          </a:prstGeom>
        </p:spPr>
      </p:pic>
      <p:pic>
        <p:nvPicPr>
          <p:cNvPr id="26" name="Picture 2"/>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431371" y="5238867"/>
            <a:ext cx="782421" cy="78242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IIP-Award-Brand-Mark-Silver-(Boxed)-Pantone-877+-A.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66666" y="5379266"/>
            <a:ext cx="2208245" cy="501625"/>
          </a:xfrm>
          <a:prstGeom prst="rect">
            <a:avLst/>
          </a:prstGeom>
        </p:spPr>
      </p:pic>
    </p:spTree>
    <p:extLst>
      <p:ext uri="{BB962C8B-B14F-4D97-AF65-F5344CB8AC3E}">
        <p14:creationId xmlns:p14="http://schemas.microsoft.com/office/powerpoint/2010/main" val="3591935725"/>
      </p:ext>
    </p:extLst>
  </p:cSld>
  <p:clrMapOvr>
    <a:masterClrMapping/>
  </p:clrMapOvr>
  <p:transition>
    <p:fade thruBlk="1"/>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slide 2 (for UK use only ###)">
    <p:spTree>
      <p:nvGrpSpPr>
        <p:cNvPr id="1" name=""/>
        <p:cNvGrpSpPr/>
        <p:nvPr/>
      </p:nvGrpSpPr>
      <p:grpSpPr>
        <a:xfrm>
          <a:off x="0" y="0"/>
          <a:ext cx="0" cy="0"/>
          <a:chOff x="0" y="0"/>
          <a:chExt cx="0" cy="0"/>
        </a:xfrm>
      </p:grpSpPr>
      <p:sp>
        <p:nvSpPr>
          <p:cNvPr id="6" name="Pie 5"/>
          <p:cNvSpPr>
            <a:spLocks noChangeAspect="1"/>
          </p:cNvSpPr>
          <p:nvPr userDrawn="1"/>
        </p:nvSpPr>
        <p:spPr>
          <a:xfrm flipH="1">
            <a:off x="5337203" y="0"/>
            <a:ext cx="13720237" cy="13718400"/>
          </a:xfrm>
          <a:prstGeom prst="pie">
            <a:avLst>
              <a:gd name="adj1" fmla="val 16192984"/>
              <a:gd name="adj2" fmla="val 55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title" hasCustomPrompt="1"/>
          </p:nvPr>
        </p:nvSpPr>
        <p:spPr>
          <a:xfrm>
            <a:off x="431371" y="1689600"/>
            <a:ext cx="4896280" cy="1824203"/>
          </a:xfrm>
        </p:spPr>
        <p:txBody>
          <a:bodyPr anchor="b">
            <a:noAutofit/>
          </a:bodyPr>
          <a:lstStyle>
            <a:lvl1pPr>
              <a:defRPr sz="3733" baseline="0">
                <a:solidFill>
                  <a:schemeClr val="accent2"/>
                </a:solidFill>
              </a:defRPr>
            </a:lvl1pPr>
          </a:lstStyle>
          <a:p>
            <a:r>
              <a:rPr lang="en-US"/>
              <a:t>Click to edit presentation title</a:t>
            </a:r>
            <a:endParaRPr lang="en-GB"/>
          </a:p>
        </p:txBody>
      </p:sp>
      <p:sp>
        <p:nvSpPr>
          <p:cNvPr id="3" name="Date Placeholder 2"/>
          <p:cNvSpPr>
            <a:spLocks noGrp="1"/>
          </p:cNvSpPr>
          <p:nvPr>
            <p:ph type="dt" sz="half" idx="10"/>
          </p:nvPr>
        </p:nvSpPr>
        <p:spPr/>
        <p:txBody>
          <a:bodyPr/>
          <a:lstStyle>
            <a:lvl1pPr>
              <a:defRPr>
                <a:solidFill>
                  <a:schemeClr val="bg1"/>
                </a:solidFill>
              </a:defRPr>
            </a:lvl1p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
        <p:nvSpPr>
          <p:cNvPr id="16" name="Picture Placeholder 8"/>
          <p:cNvSpPr>
            <a:spLocks noGrp="1" noChangeAspect="1"/>
          </p:cNvSpPr>
          <p:nvPr>
            <p:ph type="pic" sz="quarter" idx="15" hasCustomPrompt="1"/>
          </p:nvPr>
        </p:nvSpPr>
        <p:spPr>
          <a:xfrm>
            <a:off x="5332800" y="0"/>
            <a:ext cx="13718400" cy="13718400"/>
          </a:xfrm>
          <a:prstGeom prst="pie">
            <a:avLst>
              <a:gd name="adj1" fmla="val 10796764"/>
              <a:gd name="adj2" fmla="val 13497774"/>
            </a:avLst>
          </a:prstGeom>
        </p:spPr>
        <p:txBody>
          <a:bodyPr tIns="1800000" anchor="t">
            <a:normAutofit/>
          </a:bodyPr>
          <a:lstStyle>
            <a:lvl1pPr>
              <a:defRPr sz="1333" b="0" baseline="0">
                <a:solidFill>
                  <a:schemeClr val="bg1"/>
                </a:solidFill>
              </a:defRPr>
            </a:lvl1pPr>
          </a:lstStyle>
          <a:p>
            <a:r>
              <a:rPr lang="en-GB"/>
              <a:t>Click icon in bottom corner of slide to add pictur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31372" y="668347"/>
            <a:ext cx="911857" cy="55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userDrawn="1"/>
        </p:nvSpPr>
        <p:spPr>
          <a:xfrm>
            <a:off x="287355" y="5973283"/>
            <a:ext cx="672075" cy="535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0" name="Text Placeholder 19"/>
          <p:cNvSpPr>
            <a:spLocks noGrp="1"/>
          </p:cNvSpPr>
          <p:nvPr>
            <p:ph type="body" sz="quarter" idx="16" hasCustomPrompt="1"/>
          </p:nvPr>
        </p:nvSpPr>
        <p:spPr>
          <a:xfrm>
            <a:off x="431372" y="3717033"/>
            <a:ext cx="4896185" cy="912119"/>
          </a:xfrm>
        </p:spPr>
        <p:txBody>
          <a:bodyPr/>
          <a:lstStyle>
            <a:lvl1pPr>
              <a:defRPr sz="2133" b="0">
                <a:solidFill>
                  <a:schemeClr val="accent4"/>
                </a:solidFill>
              </a:defRPr>
            </a:lvl1pPr>
          </a:lstStyle>
          <a:p>
            <a:pPr lvl="0"/>
            <a:r>
              <a:rPr lang="en-US"/>
              <a:t>Add subtitle here</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1"/>
          </p:nvPr>
        </p:nvSpPr>
        <p:spPr>
          <a:xfrm>
            <a:off x="431371" y="6261315"/>
            <a:ext cx="4905832" cy="149101"/>
          </a:xfrm>
        </p:spPr>
        <p:txBody>
          <a:bodyPr lIns="0"/>
          <a:lstStyle/>
          <a:p>
            <a:endParaRPr lang="en-GB"/>
          </a:p>
        </p:txBody>
      </p:sp>
      <p:pic>
        <p:nvPicPr>
          <p:cNvPr id="19" name="Picture 18" descr="By royal charter.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27784" y="5238877"/>
            <a:ext cx="829729" cy="782400"/>
          </a:xfrm>
          <a:prstGeom prst="rect">
            <a:avLst/>
          </a:prstGeom>
        </p:spPr>
      </p:pic>
      <p:pic>
        <p:nvPicPr>
          <p:cNvPr id="22" name="Picture 2"/>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431371" y="5238867"/>
            <a:ext cx="782421" cy="78242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IIP-Award-Brand-Mark-Silver-(Boxed)-Pantone-877+-A.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66666" y="5379266"/>
            <a:ext cx="2208245" cy="501625"/>
          </a:xfrm>
          <a:prstGeom prst="rect">
            <a:avLst/>
          </a:prstGeom>
        </p:spPr>
      </p:pic>
    </p:spTree>
    <p:extLst>
      <p:ext uri="{BB962C8B-B14F-4D97-AF65-F5344CB8AC3E}">
        <p14:creationId xmlns:p14="http://schemas.microsoft.com/office/powerpoint/2010/main" val="2493174353"/>
      </p:ext>
    </p:extLst>
  </p:cSld>
  <p:clrMapOvr>
    <a:masterClrMapping/>
  </p:clrMapOvr>
  <p:transition>
    <p:fade thruBlk="1"/>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slide 3 (excluding U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372" y="1689600"/>
            <a:ext cx="7633129" cy="1824203"/>
          </a:xfrm>
        </p:spPr>
        <p:txBody>
          <a:bodyPr anchor="b">
            <a:noAutofit/>
          </a:bodyPr>
          <a:lstStyle>
            <a:lvl1pPr>
              <a:defRPr sz="3733" baseline="0">
                <a:solidFill>
                  <a:schemeClr val="accent2"/>
                </a:solidFill>
              </a:defRPr>
            </a:lvl1pPr>
          </a:lstStyle>
          <a:p>
            <a:r>
              <a:rPr lang="en-US"/>
              <a:t>Click to edit presentation title</a:t>
            </a:r>
            <a:endParaRPr lang="en-GB"/>
          </a:p>
        </p:txBody>
      </p:sp>
      <p:sp>
        <p:nvSpPr>
          <p:cNvPr id="3" name="Date Placeholder 2"/>
          <p:cNvSpPr>
            <a:spLocks noGrp="1"/>
          </p:cNvSpPr>
          <p:nvPr>
            <p:ph type="dt" sz="half" idx="10"/>
          </p:nvPr>
        </p:nvSpPr>
        <p:spPr/>
        <p:txBody>
          <a:bodyPr/>
          <a:lstStyle>
            <a:lvl1pPr>
              <a:defRPr>
                <a:solidFill>
                  <a:schemeClr val="bg1"/>
                </a:solidFill>
              </a:defRPr>
            </a:lvl1p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31372" y="668347"/>
            <a:ext cx="911857" cy="55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userDrawn="1"/>
        </p:nvSpPr>
        <p:spPr>
          <a:xfrm>
            <a:off x="287355" y="5973283"/>
            <a:ext cx="768085" cy="535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0" name="Text Placeholder 19"/>
          <p:cNvSpPr>
            <a:spLocks noGrp="1"/>
          </p:cNvSpPr>
          <p:nvPr>
            <p:ph type="body" sz="quarter" idx="16" hasCustomPrompt="1"/>
          </p:nvPr>
        </p:nvSpPr>
        <p:spPr>
          <a:xfrm>
            <a:off x="431372" y="3717032"/>
            <a:ext cx="7633129" cy="672075"/>
          </a:xfrm>
        </p:spPr>
        <p:txBody>
          <a:bodyPr/>
          <a:lstStyle>
            <a:lvl1pPr>
              <a:defRPr sz="2133" b="0">
                <a:solidFill>
                  <a:schemeClr val="accent4"/>
                </a:solidFill>
              </a:defRPr>
            </a:lvl1pPr>
          </a:lstStyle>
          <a:p>
            <a:pPr lvl="0"/>
            <a:r>
              <a:rPr lang="en-US"/>
              <a:t>Add subtitle here</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1" name="Straight Connector 20" hidden="1"/>
          <p:cNvCxnSpPr/>
          <p:nvPr userDrawn="1"/>
        </p:nvCxnSpPr>
        <p:spPr>
          <a:xfrm>
            <a:off x="5337203" y="0"/>
            <a:ext cx="6854797" cy="6858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Footer Placeholder 3"/>
          <p:cNvSpPr>
            <a:spLocks noGrp="1"/>
          </p:cNvSpPr>
          <p:nvPr>
            <p:ph type="ftr" sz="quarter" idx="11"/>
          </p:nvPr>
        </p:nvSpPr>
        <p:spPr>
          <a:xfrm>
            <a:off x="431371" y="6261315"/>
            <a:ext cx="4905832" cy="149101"/>
          </a:xfrm>
        </p:spPr>
        <p:txBody>
          <a:bodyPr lIns="0"/>
          <a:lstStyle/>
          <a:p>
            <a:endParaRPr lang="en-GB"/>
          </a:p>
        </p:txBody>
      </p:sp>
      <p:pic>
        <p:nvPicPr>
          <p:cNvPr id="28" name="Picture 27"/>
          <p:cNvPicPr>
            <a:picLocks noChangeAspect="1"/>
          </p:cNvPicPr>
          <p:nvPr userDrawn="1"/>
        </p:nvPicPr>
        <p:blipFill>
          <a:blip r:embed="rId3"/>
          <a:stretch>
            <a:fillRect/>
          </a:stretch>
        </p:blipFill>
        <p:spPr>
          <a:xfrm>
            <a:off x="7776187" y="514943"/>
            <a:ext cx="4388572" cy="768000"/>
          </a:xfrm>
          <a:prstGeom prst="rect">
            <a:avLst/>
          </a:prstGeom>
        </p:spPr>
      </p:pic>
      <p:pic>
        <p:nvPicPr>
          <p:cNvPr id="29" name="Picture 28" descr="By royal charter.JP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30901" y="5023607"/>
            <a:ext cx="829729" cy="782400"/>
          </a:xfrm>
          <a:prstGeom prst="rect">
            <a:avLst/>
          </a:prstGeom>
        </p:spPr>
      </p:pic>
      <p:pic>
        <p:nvPicPr>
          <p:cNvPr id="30" name="Picture 2"/>
          <p:cNvPicPr>
            <a:picLocks noChangeAspect="1" noChangeArrowheads="1"/>
          </p:cNvPicPr>
          <p:nvPr userDrawn="1"/>
        </p:nvPicPr>
        <p:blipFill>
          <a:blip r:embed="rId5" cstate="screen">
            <a:extLst>
              <a:ext uri="{28A0092B-C50C-407E-A947-70E740481C1C}">
                <a14:useLocalDpi xmlns:a14="http://schemas.microsoft.com/office/drawing/2010/main"/>
              </a:ext>
            </a:extLst>
          </a:blip>
          <a:stretch>
            <a:fillRect/>
          </a:stretch>
        </p:blipFill>
        <p:spPr bwMode="auto">
          <a:xfrm>
            <a:off x="7776187" y="5023596"/>
            <a:ext cx="782421" cy="782421"/>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descr="IIP_LOGO_BLACK.pn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786554" y="5120366"/>
            <a:ext cx="1916401" cy="588884"/>
          </a:xfrm>
          <a:prstGeom prst="rect">
            <a:avLst/>
          </a:prstGeom>
        </p:spPr>
      </p:pic>
    </p:spTree>
    <p:extLst>
      <p:ext uri="{BB962C8B-B14F-4D97-AF65-F5344CB8AC3E}">
        <p14:creationId xmlns:p14="http://schemas.microsoft.com/office/powerpoint/2010/main" val="3668766837"/>
      </p:ext>
    </p:extLst>
  </p:cSld>
  <p:clrMapOvr>
    <a:masterClrMapping/>
  </p:clrMapOvr>
  <p:transition>
    <p:fade thruBlk="1"/>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3 for UK use only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372" y="1689600"/>
            <a:ext cx="7633129" cy="1824203"/>
          </a:xfrm>
        </p:spPr>
        <p:txBody>
          <a:bodyPr anchor="b">
            <a:noAutofit/>
          </a:bodyPr>
          <a:lstStyle>
            <a:lvl1pPr>
              <a:defRPr sz="3733" baseline="0">
                <a:solidFill>
                  <a:schemeClr val="accent2"/>
                </a:solidFill>
              </a:defRPr>
            </a:lvl1pPr>
          </a:lstStyle>
          <a:p>
            <a:r>
              <a:rPr lang="en-US"/>
              <a:t>Click to edit presentation title</a:t>
            </a:r>
            <a:endParaRPr lang="en-GB"/>
          </a:p>
        </p:txBody>
      </p:sp>
      <p:sp>
        <p:nvSpPr>
          <p:cNvPr id="3" name="Date Placeholder 2"/>
          <p:cNvSpPr>
            <a:spLocks noGrp="1"/>
          </p:cNvSpPr>
          <p:nvPr>
            <p:ph type="dt" sz="half" idx="10"/>
          </p:nvPr>
        </p:nvSpPr>
        <p:spPr/>
        <p:txBody>
          <a:bodyPr/>
          <a:lstStyle>
            <a:lvl1pPr>
              <a:defRPr>
                <a:solidFill>
                  <a:schemeClr val="bg1"/>
                </a:solidFill>
              </a:defRPr>
            </a:lvl1p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31372" y="668347"/>
            <a:ext cx="911857" cy="55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userDrawn="1"/>
        </p:nvSpPr>
        <p:spPr>
          <a:xfrm>
            <a:off x="287355" y="5973283"/>
            <a:ext cx="768085" cy="535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0" name="Text Placeholder 19"/>
          <p:cNvSpPr>
            <a:spLocks noGrp="1"/>
          </p:cNvSpPr>
          <p:nvPr>
            <p:ph type="body" sz="quarter" idx="16" hasCustomPrompt="1"/>
          </p:nvPr>
        </p:nvSpPr>
        <p:spPr>
          <a:xfrm>
            <a:off x="431372" y="3717032"/>
            <a:ext cx="7633129" cy="672075"/>
          </a:xfrm>
        </p:spPr>
        <p:txBody>
          <a:bodyPr/>
          <a:lstStyle>
            <a:lvl1pPr>
              <a:defRPr sz="2133" b="0">
                <a:solidFill>
                  <a:schemeClr val="accent4"/>
                </a:solidFill>
              </a:defRPr>
            </a:lvl1pPr>
          </a:lstStyle>
          <a:p>
            <a:pPr lvl="0"/>
            <a:r>
              <a:rPr lang="en-US"/>
              <a:t>Add subtitle here</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1" name="Straight Connector 20" hidden="1"/>
          <p:cNvCxnSpPr/>
          <p:nvPr userDrawn="1"/>
        </p:nvCxnSpPr>
        <p:spPr>
          <a:xfrm>
            <a:off x="5337203" y="0"/>
            <a:ext cx="6854797" cy="6858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3"/>
          <a:stretch>
            <a:fillRect/>
          </a:stretch>
        </p:blipFill>
        <p:spPr>
          <a:xfrm>
            <a:off x="7776187" y="514943"/>
            <a:ext cx="4388572" cy="768000"/>
          </a:xfrm>
          <a:prstGeom prst="rect">
            <a:avLst/>
          </a:prstGeom>
        </p:spPr>
      </p:pic>
      <p:sp>
        <p:nvSpPr>
          <p:cNvPr id="4" name="Footer Placeholder 3"/>
          <p:cNvSpPr>
            <a:spLocks noGrp="1"/>
          </p:cNvSpPr>
          <p:nvPr>
            <p:ph type="ftr" sz="quarter" idx="11"/>
          </p:nvPr>
        </p:nvSpPr>
        <p:spPr>
          <a:xfrm>
            <a:off x="431371" y="6261315"/>
            <a:ext cx="4905832" cy="149101"/>
          </a:xfrm>
        </p:spPr>
        <p:txBody>
          <a:bodyPr lIns="0"/>
          <a:lstStyle/>
          <a:p>
            <a:endParaRPr lang="en-GB"/>
          </a:p>
        </p:txBody>
      </p:sp>
      <p:pic>
        <p:nvPicPr>
          <p:cNvPr id="24" name="Picture 23" descr="IIP-Award-Brand-Mark-Silver-(Boxed)-Pantone-877+-A.jp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623092" y="5163996"/>
            <a:ext cx="2208245" cy="501625"/>
          </a:xfrm>
          <a:prstGeom prst="rect">
            <a:avLst/>
          </a:prstGeom>
        </p:spPr>
      </p:pic>
      <p:pic>
        <p:nvPicPr>
          <p:cNvPr id="25" name="Picture 24" descr="By royal charter.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930901" y="5023607"/>
            <a:ext cx="829729" cy="782400"/>
          </a:xfrm>
          <a:prstGeom prst="rect">
            <a:avLst/>
          </a:prstGeom>
        </p:spPr>
      </p:pic>
      <p:pic>
        <p:nvPicPr>
          <p:cNvPr id="26" name="Picture 2"/>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7776187" y="5023596"/>
            <a:ext cx="782421" cy="7824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226012"/>
      </p:ext>
    </p:extLst>
  </p:cSld>
  <p:clrMapOvr>
    <a:masterClrMapping/>
  </p:clrMapOvr>
  <p:transition>
    <p:fade thruBlk="1"/>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title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371" y="1699685"/>
            <a:ext cx="5664629" cy="1804316"/>
          </a:xfrm>
        </p:spPr>
        <p:txBody>
          <a:bodyPr anchor="b">
            <a:noAutofit/>
          </a:bodyPr>
          <a:lstStyle>
            <a:lvl1pPr>
              <a:defRPr sz="3200">
                <a:solidFill>
                  <a:schemeClr val="tx2"/>
                </a:solidFill>
              </a:defRPr>
            </a:lvl1pPr>
          </a:lstStyle>
          <a:p>
            <a:r>
              <a:rPr lang="en-US"/>
              <a:t>Click to edit section title</a:t>
            </a:r>
            <a:endParaRPr lang="en-GB"/>
          </a:p>
        </p:txBody>
      </p:sp>
      <p:sp>
        <p:nvSpPr>
          <p:cNvPr id="3" name="Date Placeholder 2"/>
          <p:cNvSpPr>
            <a:spLocks noGrp="1"/>
          </p:cNvSpPr>
          <p:nvPr>
            <p:ph type="dt" sz="half" idx="10"/>
          </p:nvPr>
        </p:nvSpPr>
        <p:spPr/>
        <p:txBody>
          <a:bodyPr/>
          <a:lstStyle>
            <a:lvl1pPr>
              <a:defRPr>
                <a:solidFill>
                  <a:schemeClr val="bg1"/>
                </a:solidFill>
              </a:defRPr>
            </a:lvl1pPr>
          </a:lstStyle>
          <a:p>
            <a:endParaRPr lang="en-GB"/>
          </a:p>
        </p:txBody>
      </p:sp>
      <p:sp>
        <p:nvSpPr>
          <p:cNvPr id="4" name="Footer Placeholder 3"/>
          <p:cNvSpPr>
            <a:spLocks noGrp="1"/>
          </p:cNvSpPr>
          <p:nvPr>
            <p:ph type="ftr" sz="quarter" idx="11"/>
          </p:nvPr>
        </p:nvSpPr>
        <p:spPr>
          <a:xfrm>
            <a:off x="897601" y="6261315"/>
            <a:ext cx="4416225" cy="120436"/>
          </a:xfrm>
        </p:spPr>
        <p:txBody>
          <a:body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
        <p:nvSpPr>
          <p:cNvPr id="6" name="Picture Placeholder 8"/>
          <p:cNvSpPr>
            <a:spLocks noGrp="1" noChangeAspect="1"/>
          </p:cNvSpPr>
          <p:nvPr>
            <p:ph type="pic" sz="quarter" idx="17"/>
          </p:nvPr>
        </p:nvSpPr>
        <p:spPr>
          <a:xfrm>
            <a:off x="5376001" y="1171200"/>
            <a:ext cx="6903255" cy="5781504"/>
          </a:xfrm>
          <a:custGeom>
            <a:avLst/>
            <a:gdLst>
              <a:gd name="connsiteX0" fmla="*/ 2 w 9432000"/>
              <a:gd name="connsiteY0" fmla="*/ 4720439 h 9432000"/>
              <a:gd name="connsiteX1" fmla="*/ 1805085 w 9432000"/>
              <a:gd name="connsiteY1" fmla="*/ 1005578 h 9432000"/>
              <a:gd name="connsiteX2" fmla="*/ 5842831 w 9432000"/>
              <a:gd name="connsiteY2" fmla="*/ 136600 h 9432000"/>
              <a:gd name="connsiteX3" fmla="*/ 4716000 w 9432000"/>
              <a:gd name="connsiteY3" fmla="*/ 4716000 h 9432000"/>
              <a:gd name="connsiteX4" fmla="*/ 2 w 9432000"/>
              <a:gd name="connsiteY4" fmla="*/ 4720439 h 9432000"/>
              <a:gd name="connsiteX0" fmla="*/ 1365 w 5898811"/>
              <a:gd name="connsiteY0" fmla="*/ 4930284 h 4941891"/>
              <a:gd name="connsiteX1" fmla="*/ 1806448 w 5898811"/>
              <a:gd name="connsiteY1" fmla="*/ 1215423 h 4941891"/>
              <a:gd name="connsiteX2" fmla="*/ 5844194 w 5898811"/>
              <a:gd name="connsiteY2" fmla="*/ 346445 h 4941891"/>
              <a:gd name="connsiteX3" fmla="*/ 5898811 w 5898811"/>
              <a:gd name="connsiteY3" fmla="*/ 4941891 h 4941891"/>
              <a:gd name="connsiteX4" fmla="*/ 1365 w 5898811"/>
              <a:gd name="connsiteY4" fmla="*/ 4930284 h 4941891"/>
              <a:gd name="connsiteX0" fmla="*/ 1365 w 5898811"/>
              <a:gd name="connsiteY0" fmla="*/ 4930284 h 4941891"/>
              <a:gd name="connsiteX1" fmla="*/ 1806448 w 5898811"/>
              <a:gd name="connsiteY1" fmla="*/ 1215423 h 4941891"/>
              <a:gd name="connsiteX2" fmla="*/ 5844194 w 5898811"/>
              <a:gd name="connsiteY2" fmla="*/ 346445 h 4941891"/>
              <a:gd name="connsiteX3" fmla="*/ 5898811 w 5898811"/>
              <a:gd name="connsiteY3" fmla="*/ 4941891 h 4941891"/>
              <a:gd name="connsiteX4" fmla="*/ 1365 w 5898811"/>
              <a:gd name="connsiteY4" fmla="*/ 4930284 h 4941891"/>
              <a:gd name="connsiteX0" fmla="*/ 1365 w 5898811"/>
              <a:gd name="connsiteY0" fmla="*/ 4930284 h 4941891"/>
              <a:gd name="connsiteX1" fmla="*/ 1806448 w 5898811"/>
              <a:gd name="connsiteY1" fmla="*/ 1215423 h 4941891"/>
              <a:gd name="connsiteX2" fmla="*/ 5844194 w 5898811"/>
              <a:gd name="connsiteY2" fmla="*/ 346445 h 4941891"/>
              <a:gd name="connsiteX3" fmla="*/ 5898811 w 5898811"/>
              <a:gd name="connsiteY3" fmla="*/ 4941891 h 4941891"/>
              <a:gd name="connsiteX4" fmla="*/ 1365 w 5898811"/>
              <a:gd name="connsiteY4" fmla="*/ 4930284 h 4941891"/>
              <a:gd name="connsiteX0" fmla="*/ 1365 w 5844194"/>
              <a:gd name="connsiteY0" fmla="*/ 4930284 h 4941891"/>
              <a:gd name="connsiteX1" fmla="*/ 1806448 w 5844194"/>
              <a:gd name="connsiteY1" fmla="*/ 1215423 h 4941891"/>
              <a:gd name="connsiteX2" fmla="*/ 5844194 w 5844194"/>
              <a:gd name="connsiteY2" fmla="*/ 346445 h 4941891"/>
              <a:gd name="connsiteX3" fmla="*/ 5832648 w 5844194"/>
              <a:gd name="connsiteY3" fmla="*/ 4941891 h 4941891"/>
              <a:gd name="connsiteX4" fmla="*/ 1365 w 5844194"/>
              <a:gd name="connsiteY4" fmla="*/ 4930284 h 4941891"/>
              <a:gd name="connsiteX0" fmla="*/ 1365 w 5844194"/>
              <a:gd name="connsiteY0" fmla="*/ 4907345 h 4918952"/>
              <a:gd name="connsiteX1" fmla="*/ 1806448 w 5844194"/>
              <a:gd name="connsiteY1" fmla="*/ 1192484 h 4918952"/>
              <a:gd name="connsiteX2" fmla="*/ 5844194 w 5844194"/>
              <a:gd name="connsiteY2" fmla="*/ 346445 h 4918952"/>
              <a:gd name="connsiteX3" fmla="*/ 5832648 w 5844194"/>
              <a:gd name="connsiteY3" fmla="*/ 4918952 h 4918952"/>
              <a:gd name="connsiteX4" fmla="*/ 1365 w 5844194"/>
              <a:gd name="connsiteY4" fmla="*/ 4907345 h 4918952"/>
              <a:gd name="connsiteX0" fmla="*/ 1365 w 5844194"/>
              <a:gd name="connsiteY0" fmla="*/ 4907346 h 4918953"/>
              <a:gd name="connsiteX1" fmla="*/ 1806448 w 5844194"/>
              <a:gd name="connsiteY1" fmla="*/ 1192485 h 4918953"/>
              <a:gd name="connsiteX2" fmla="*/ 5844194 w 5844194"/>
              <a:gd name="connsiteY2" fmla="*/ 346445 h 4918953"/>
              <a:gd name="connsiteX3" fmla="*/ 5832648 w 5844194"/>
              <a:gd name="connsiteY3" fmla="*/ 4918953 h 4918953"/>
              <a:gd name="connsiteX4" fmla="*/ 1365 w 5844194"/>
              <a:gd name="connsiteY4" fmla="*/ 4907346 h 4918953"/>
              <a:gd name="connsiteX0" fmla="*/ 1365 w 5836497"/>
              <a:gd name="connsiteY0" fmla="*/ 4907345 h 4918952"/>
              <a:gd name="connsiteX1" fmla="*/ 1806448 w 5836497"/>
              <a:gd name="connsiteY1" fmla="*/ 1192484 h 4918952"/>
              <a:gd name="connsiteX2" fmla="*/ 5760132 w 5836497"/>
              <a:gd name="connsiteY2" fmla="*/ 346445 h 4918952"/>
              <a:gd name="connsiteX3" fmla="*/ 5832648 w 5836497"/>
              <a:gd name="connsiteY3" fmla="*/ 4918952 h 4918952"/>
              <a:gd name="connsiteX4" fmla="*/ 1365 w 5836497"/>
              <a:gd name="connsiteY4" fmla="*/ 4907345 h 4918952"/>
              <a:gd name="connsiteX0" fmla="*/ 1365 w 5836497"/>
              <a:gd name="connsiteY0" fmla="*/ 4876483 h 4888090"/>
              <a:gd name="connsiteX1" fmla="*/ 1806448 w 5836497"/>
              <a:gd name="connsiteY1" fmla="*/ 1161622 h 4888090"/>
              <a:gd name="connsiteX2" fmla="*/ 5787136 w 5836497"/>
              <a:gd name="connsiteY2" fmla="*/ 346445 h 4888090"/>
              <a:gd name="connsiteX3" fmla="*/ 5832648 w 5836497"/>
              <a:gd name="connsiteY3" fmla="*/ 4888090 h 4888090"/>
              <a:gd name="connsiteX4" fmla="*/ 1365 w 5836497"/>
              <a:gd name="connsiteY4" fmla="*/ 4876483 h 4888090"/>
              <a:gd name="connsiteX0" fmla="*/ 1365 w 5836497"/>
              <a:gd name="connsiteY0" fmla="*/ 4876483 h 4888090"/>
              <a:gd name="connsiteX1" fmla="*/ 1806448 w 5836497"/>
              <a:gd name="connsiteY1" fmla="*/ 1161622 h 4888090"/>
              <a:gd name="connsiteX2" fmla="*/ 5836497 w 5836497"/>
              <a:gd name="connsiteY2" fmla="*/ 346445 h 4888090"/>
              <a:gd name="connsiteX3" fmla="*/ 5832648 w 5836497"/>
              <a:gd name="connsiteY3" fmla="*/ 4888090 h 4888090"/>
              <a:gd name="connsiteX4" fmla="*/ 1365 w 5836497"/>
              <a:gd name="connsiteY4" fmla="*/ 4876483 h 4888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36497" h="4888090">
                <a:moveTo>
                  <a:pt x="1365" y="4876483"/>
                </a:moveTo>
                <a:cubicBezTo>
                  <a:pt x="0" y="3426550"/>
                  <a:pt x="833926" y="1916628"/>
                  <a:pt x="1806448" y="1161622"/>
                </a:cubicBezTo>
                <a:cubicBezTo>
                  <a:pt x="2778970" y="406616"/>
                  <a:pt x="4428561" y="0"/>
                  <a:pt x="5836497" y="346445"/>
                </a:cubicBezTo>
                <a:cubicBezTo>
                  <a:pt x="5832648" y="1878260"/>
                  <a:pt x="5836497" y="3356275"/>
                  <a:pt x="5832648" y="4888090"/>
                </a:cubicBezTo>
                <a:lnTo>
                  <a:pt x="1365" y="4876483"/>
                </a:lnTo>
                <a:close/>
              </a:path>
            </a:pathLst>
          </a:custGeom>
          <a:ln w="127000">
            <a:solidFill>
              <a:schemeClr val="accent2"/>
            </a:solidFill>
          </a:ln>
        </p:spPr>
        <p:txBody>
          <a:bodyPr tIns="1800000" anchor="ctr">
            <a:normAutofit/>
          </a:bodyPr>
          <a:lstStyle>
            <a:lvl1pPr algn="ctr">
              <a:defRPr sz="1333" b="0">
                <a:solidFill>
                  <a:schemeClr val="accent4"/>
                </a:solidFill>
              </a:defRPr>
            </a:lvl1pPr>
          </a:lstStyle>
          <a:p>
            <a:r>
              <a:rPr lang="en-US"/>
              <a:t>Click icon to add picture</a:t>
            </a:r>
            <a:endParaRPr lang="en-GB"/>
          </a:p>
        </p:txBody>
      </p:sp>
      <p:sp>
        <p:nvSpPr>
          <p:cNvPr id="7" name="Text Placeholder 19"/>
          <p:cNvSpPr>
            <a:spLocks noGrp="1"/>
          </p:cNvSpPr>
          <p:nvPr>
            <p:ph type="body" sz="quarter" idx="18" hasCustomPrompt="1"/>
          </p:nvPr>
        </p:nvSpPr>
        <p:spPr>
          <a:xfrm>
            <a:off x="431801" y="3717223"/>
            <a:ext cx="4608083" cy="2088795"/>
          </a:xfrm>
        </p:spPr>
        <p:txBody>
          <a:bodyPr/>
          <a:lstStyle>
            <a:lvl1pPr>
              <a:defRPr sz="2133" b="0">
                <a:solidFill>
                  <a:schemeClr val="accent4"/>
                </a:solidFill>
              </a:defRPr>
            </a:lvl1pPr>
          </a:lstStyle>
          <a:p>
            <a:pPr lvl="0"/>
            <a:r>
              <a:rPr lang="en-US"/>
              <a:t>Add subtitle here</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96840494"/>
      </p:ext>
    </p:extLst>
  </p:cSld>
  <p:clrMapOvr>
    <a:masterClrMapping/>
  </p:clrMapOvr>
  <p:transition>
    <p:fade thruBlk="1"/>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pic>
        <p:nvPicPr>
          <p:cNvPr id="11" name="Picture 10"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29992"/>
            <a:ext cx="9440691" cy="6230125"/>
          </a:xfrm>
          <a:prstGeom prst="rect">
            <a:avLst/>
          </a:prstGeom>
        </p:spPr>
      </p:pic>
      <p:sp>
        <p:nvSpPr>
          <p:cNvPr id="2" name="Title 1"/>
          <p:cNvSpPr>
            <a:spLocks noGrp="1"/>
          </p:cNvSpPr>
          <p:nvPr>
            <p:ph type="title" hasCustomPrompt="1"/>
          </p:nvPr>
        </p:nvSpPr>
        <p:spPr>
          <a:xfrm>
            <a:off x="431371" y="1699685"/>
            <a:ext cx="5664628" cy="1804316"/>
          </a:xfrm>
        </p:spPr>
        <p:txBody>
          <a:bodyPr anchor="b">
            <a:noAutofit/>
          </a:bodyPr>
          <a:lstStyle>
            <a:lvl1pPr>
              <a:defRPr sz="3200">
                <a:solidFill>
                  <a:schemeClr val="tx2"/>
                </a:solidFill>
              </a:defRPr>
            </a:lvl1pPr>
          </a:lstStyle>
          <a:p>
            <a:r>
              <a:rPr lang="en-US"/>
              <a:t>Click to edit section title</a:t>
            </a:r>
            <a:endParaRPr lang="en-GB"/>
          </a:p>
        </p:txBody>
      </p:sp>
      <p:sp>
        <p:nvSpPr>
          <p:cNvPr id="3" name="Date Placeholder 2"/>
          <p:cNvSpPr>
            <a:spLocks noGrp="1"/>
          </p:cNvSpPr>
          <p:nvPr>
            <p:ph type="dt" sz="half" idx="10"/>
          </p:nvPr>
        </p:nvSpPr>
        <p:spPr/>
        <p:txBody>
          <a:bodyPr/>
          <a:lstStyle>
            <a:lvl1pPr>
              <a:defRPr>
                <a:solidFill>
                  <a:schemeClr val="bg1"/>
                </a:solidFill>
              </a:defRPr>
            </a:lvl1pPr>
          </a:lstStyle>
          <a:p>
            <a:endParaRPr lang="en-GB"/>
          </a:p>
        </p:txBody>
      </p:sp>
      <p:sp>
        <p:nvSpPr>
          <p:cNvPr id="4" name="Footer Placeholder 3"/>
          <p:cNvSpPr>
            <a:spLocks noGrp="1"/>
          </p:cNvSpPr>
          <p:nvPr>
            <p:ph type="ftr" sz="quarter" idx="11"/>
          </p:nvPr>
        </p:nvSpPr>
        <p:spPr>
          <a:xfrm>
            <a:off x="897601" y="6261315"/>
            <a:ext cx="4416225" cy="120436"/>
          </a:xfrm>
        </p:spPr>
        <p:txBody>
          <a:body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
        <p:nvSpPr>
          <p:cNvPr id="7" name="Text Placeholder 19"/>
          <p:cNvSpPr>
            <a:spLocks noGrp="1"/>
          </p:cNvSpPr>
          <p:nvPr>
            <p:ph type="body" sz="quarter" idx="18" hasCustomPrompt="1"/>
          </p:nvPr>
        </p:nvSpPr>
        <p:spPr>
          <a:xfrm>
            <a:off x="431802" y="3717223"/>
            <a:ext cx="5664197" cy="2088795"/>
          </a:xfrm>
        </p:spPr>
        <p:txBody>
          <a:bodyPr/>
          <a:lstStyle>
            <a:lvl1pPr>
              <a:defRPr sz="2133" b="0">
                <a:solidFill>
                  <a:schemeClr val="accent4"/>
                </a:solidFill>
              </a:defRPr>
            </a:lvl1pPr>
          </a:lstStyle>
          <a:p>
            <a:pPr lvl="0"/>
            <a:r>
              <a:rPr lang="en-US"/>
              <a:t>Add subtitle here</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31373" y="6096000"/>
            <a:ext cx="456577" cy="27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Freeform 6"/>
          <p:cNvSpPr>
            <a:spLocks/>
          </p:cNvSpPr>
          <p:nvPr userDrawn="1"/>
        </p:nvSpPr>
        <p:spPr bwMode="auto">
          <a:xfrm>
            <a:off x="2118" y="668733"/>
            <a:ext cx="9196917" cy="6216651"/>
          </a:xfrm>
          <a:custGeom>
            <a:avLst/>
            <a:gdLst/>
            <a:ahLst/>
            <a:cxnLst>
              <a:cxn ang="0">
                <a:pos x="3580" y="625"/>
              </a:cxn>
              <a:cxn ang="0">
                <a:pos x="6800" y="6"/>
              </a:cxn>
              <a:cxn ang="0">
                <a:pos x="7450" y="18"/>
              </a:cxn>
              <a:cxn ang="0">
                <a:pos x="8032" y="59"/>
              </a:cxn>
              <a:cxn ang="0">
                <a:pos x="8447" y="114"/>
              </a:cxn>
              <a:cxn ang="0">
                <a:pos x="10556" y="678"/>
              </a:cxn>
              <a:cxn ang="0">
                <a:pos x="11535" y="1131"/>
              </a:cxn>
              <a:cxn ang="0">
                <a:pos x="12443" y="1672"/>
              </a:cxn>
              <a:cxn ang="0">
                <a:pos x="15408" y="4823"/>
              </a:cxn>
              <a:cxn ang="0">
                <a:pos x="16706" y="8836"/>
              </a:cxn>
              <a:cxn ang="0">
                <a:pos x="16622" y="11348"/>
              </a:cxn>
              <a:cxn ang="0">
                <a:pos x="16159" y="11348"/>
              </a:cxn>
              <a:cxn ang="0">
                <a:pos x="16290" y="10074"/>
              </a:cxn>
              <a:cxn ang="0">
                <a:pos x="16292" y="9497"/>
              </a:cxn>
              <a:cxn ang="0">
                <a:pos x="15855" y="6943"/>
              </a:cxn>
              <a:cxn ang="0">
                <a:pos x="15186" y="5362"/>
              </a:cxn>
              <a:cxn ang="0">
                <a:pos x="12304" y="2127"/>
              </a:cxn>
              <a:cxn ang="0">
                <a:pos x="10592" y="1187"/>
              </a:cxn>
              <a:cxn ang="0">
                <a:pos x="7283" y="468"/>
              </a:cxn>
              <a:cxn ang="0">
                <a:pos x="6833" y="461"/>
              </a:cxn>
              <a:cxn ang="0">
                <a:pos x="5714" y="552"/>
              </a:cxn>
              <a:cxn ang="0">
                <a:pos x="4833" y="717"/>
              </a:cxn>
              <a:cxn ang="0">
                <a:pos x="2343" y="1708"/>
              </a:cxn>
              <a:cxn ang="0">
                <a:pos x="1045" y="2610"/>
              </a:cxn>
              <a:cxn ang="0">
                <a:pos x="0" y="3625"/>
              </a:cxn>
              <a:cxn ang="0">
                <a:pos x="0" y="2954"/>
              </a:cxn>
              <a:cxn ang="0">
                <a:pos x="3580" y="625"/>
              </a:cxn>
            </a:cxnLst>
            <a:rect l="0" t="0" r="r" b="b"/>
            <a:pathLst>
              <a:path w="16790" h="11348">
                <a:moveTo>
                  <a:pt x="3580" y="625"/>
                </a:moveTo>
                <a:cubicBezTo>
                  <a:pt x="4609" y="242"/>
                  <a:pt x="5702" y="29"/>
                  <a:pt x="6800" y="6"/>
                </a:cubicBezTo>
                <a:cubicBezTo>
                  <a:pt x="7017" y="8"/>
                  <a:pt x="7234" y="0"/>
                  <a:pt x="7450" y="18"/>
                </a:cubicBezTo>
                <a:cubicBezTo>
                  <a:pt x="7645" y="18"/>
                  <a:pt x="7838" y="45"/>
                  <a:pt x="8032" y="59"/>
                </a:cubicBezTo>
                <a:cubicBezTo>
                  <a:pt x="8171" y="72"/>
                  <a:pt x="8309" y="95"/>
                  <a:pt x="8447" y="114"/>
                </a:cubicBezTo>
                <a:cubicBezTo>
                  <a:pt x="9169" y="220"/>
                  <a:pt x="9874" y="420"/>
                  <a:pt x="10556" y="678"/>
                </a:cubicBezTo>
                <a:cubicBezTo>
                  <a:pt x="10890" y="811"/>
                  <a:pt x="11219" y="958"/>
                  <a:pt x="11535" y="1131"/>
                </a:cubicBezTo>
                <a:cubicBezTo>
                  <a:pt x="11848" y="1293"/>
                  <a:pt x="12153" y="1472"/>
                  <a:pt x="12443" y="1672"/>
                </a:cubicBezTo>
                <a:cubicBezTo>
                  <a:pt x="13654" y="2479"/>
                  <a:pt x="14674" y="3567"/>
                  <a:pt x="15408" y="4823"/>
                </a:cubicBezTo>
                <a:cubicBezTo>
                  <a:pt x="16127" y="6044"/>
                  <a:pt x="16570" y="7425"/>
                  <a:pt x="16706" y="8836"/>
                </a:cubicBezTo>
                <a:cubicBezTo>
                  <a:pt x="16790" y="9672"/>
                  <a:pt x="16755" y="10519"/>
                  <a:pt x="16622" y="11348"/>
                </a:cubicBezTo>
                <a:lnTo>
                  <a:pt x="16159" y="11348"/>
                </a:lnTo>
                <a:cubicBezTo>
                  <a:pt x="16233" y="10927"/>
                  <a:pt x="16271" y="10501"/>
                  <a:pt x="16290" y="10074"/>
                </a:cubicBezTo>
                <a:cubicBezTo>
                  <a:pt x="16295" y="9882"/>
                  <a:pt x="16293" y="9689"/>
                  <a:pt x="16292" y="9497"/>
                </a:cubicBezTo>
                <a:cubicBezTo>
                  <a:pt x="16266" y="8631"/>
                  <a:pt x="16120" y="7768"/>
                  <a:pt x="15855" y="6943"/>
                </a:cubicBezTo>
                <a:cubicBezTo>
                  <a:pt x="15680" y="6398"/>
                  <a:pt x="15463" y="5864"/>
                  <a:pt x="15186" y="5362"/>
                </a:cubicBezTo>
                <a:cubicBezTo>
                  <a:pt x="14502" y="4074"/>
                  <a:pt x="13502" y="2957"/>
                  <a:pt x="12304" y="2127"/>
                </a:cubicBezTo>
                <a:cubicBezTo>
                  <a:pt x="11765" y="1760"/>
                  <a:pt x="11195" y="1437"/>
                  <a:pt x="10592" y="1187"/>
                </a:cubicBezTo>
                <a:cubicBezTo>
                  <a:pt x="9545" y="749"/>
                  <a:pt x="8419" y="496"/>
                  <a:pt x="7283" y="468"/>
                </a:cubicBezTo>
                <a:cubicBezTo>
                  <a:pt x="7134" y="453"/>
                  <a:pt x="6983" y="464"/>
                  <a:pt x="6833" y="461"/>
                </a:cubicBezTo>
                <a:cubicBezTo>
                  <a:pt x="6459" y="475"/>
                  <a:pt x="6085" y="498"/>
                  <a:pt x="5714" y="552"/>
                </a:cubicBezTo>
                <a:cubicBezTo>
                  <a:pt x="5419" y="597"/>
                  <a:pt x="5123" y="647"/>
                  <a:pt x="4833" y="717"/>
                </a:cubicBezTo>
                <a:cubicBezTo>
                  <a:pt x="3962" y="929"/>
                  <a:pt x="3119" y="1259"/>
                  <a:pt x="2343" y="1708"/>
                </a:cubicBezTo>
                <a:cubicBezTo>
                  <a:pt x="1886" y="1971"/>
                  <a:pt x="1451" y="2274"/>
                  <a:pt x="1045" y="2610"/>
                </a:cubicBezTo>
                <a:cubicBezTo>
                  <a:pt x="668" y="2917"/>
                  <a:pt x="324" y="3263"/>
                  <a:pt x="0" y="3625"/>
                </a:cubicBezTo>
                <a:lnTo>
                  <a:pt x="0" y="2954"/>
                </a:lnTo>
                <a:cubicBezTo>
                  <a:pt x="1002" y="1926"/>
                  <a:pt x="2234" y="1124"/>
                  <a:pt x="3580" y="625"/>
                </a:cubicBezTo>
                <a:close/>
              </a:path>
            </a:pathLst>
          </a:custGeom>
          <a:solidFill>
            <a:schemeClr val="accent2"/>
          </a:solid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Tree>
    <p:extLst>
      <p:ext uri="{BB962C8B-B14F-4D97-AF65-F5344CB8AC3E}">
        <p14:creationId xmlns:p14="http://schemas.microsoft.com/office/powerpoint/2010/main" val="2279809604"/>
      </p:ext>
    </p:extLst>
  </p:cSld>
  <p:clrMapOvr>
    <a:masterClrMapping/>
  </p:clrMapOvr>
  <p:transition>
    <p:fade thruBlk="1"/>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title 3">
    <p:spTree>
      <p:nvGrpSpPr>
        <p:cNvPr id="1" name=""/>
        <p:cNvGrpSpPr/>
        <p:nvPr/>
      </p:nvGrpSpPr>
      <p:grpSpPr>
        <a:xfrm>
          <a:off x="0" y="0"/>
          <a:ext cx="0" cy="0"/>
          <a:chOff x="0" y="0"/>
          <a:chExt cx="0" cy="0"/>
        </a:xfrm>
      </p:grpSpPr>
      <p:sp>
        <p:nvSpPr>
          <p:cNvPr id="8" name="Oval 7"/>
          <p:cNvSpPr/>
          <p:nvPr userDrawn="1"/>
        </p:nvSpPr>
        <p:spPr>
          <a:xfrm>
            <a:off x="3366961" y="740701"/>
            <a:ext cx="5431520" cy="5431520"/>
          </a:xfrm>
          <a:prstGeom prst="ellipse">
            <a:avLst/>
          </a:prstGeom>
          <a:solidFill>
            <a:schemeClr val="bg1"/>
          </a:solidFill>
          <a:ln w="1270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title" hasCustomPrompt="1"/>
          </p:nvPr>
        </p:nvSpPr>
        <p:spPr>
          <a:xfrm>
            <a:off x="4127782" y="1699685"/>
            <a:ext cx="3936719" cy="1804316"/>
          </a:xfrm>
        </p:spPr>
        <p:txBody>
          <a:bodyPr anchor="b">
            <a:noAutofit/>
          </a:bodyPr>
          <a:lstStyle>
            <a:lvl1pPr algn="ctr">
              <a:defRPr sz="3200">
                <a:solidFill>
                  <a:schemeClr val="tx2"/>
                </a:solidFill>
              </a:defRPr>
            </a:lvl1pPr>
          </a:lstStyle>
          <a:p>
            <a:r>
              <a:rPr lang="en-US"/>
              <a:t>Click to edit section title</a:t>
            </a:r>
            <a:endParaRPr lang="en-GB"/>
          </a:p>
        </p:txBody>
      </p:sp>
      <p:sp>
        <p:nvSpPr>
          <p:cNvPr id="3" name="Date Placeholder 2"/>
          <p:cNvSpPr>
            <a:spLocks noGrp="1"/>
          </p:cNvSpPr>
          <p:nvPr>
            <p:ph type="dt" sz="half" idx="10"/>
          </p:nvPr>
        </p:nvSpPr>
        <p:spPr/>
        <p:txBody>
          <a:bodyPr/>
          <a:lstStyle>
            <a:lvl1pPr>
              <a:defRPr>
                <a:solidFill>
                  <a:schemeClr val="bg1"/>
                </a:solidFill>
              </a:defRPr>
            </a:lvl1pPr>
          </a:lstStyle>
          <a:p>
            <a:endParaRPr lang="en-GB"/>
          </a:p>
        </p:txBody>
      </p:sp>
      <p:sp>
        <p:nvSpPr>
          <p:cNvPr id="4" name="Footer Placeholder 3"/>
          <p:cNvSpPr>
            <a:spLocks noGrp="1"/>
          </p:cNvSpPr>
          <p:nvPr>
            <p:ph type="ftr" sz="quarter" idx="11"/>
          </p:nvPr>
        </p:nvSpPr>
        <p:spPr>
          <a:xfrm>
            <a:off x="897601" y="6261315"/>
            <a:ext cx="4416225" cy="120436"/>
          </a:xfrm>
        </p:spPr>
        <p:txBody>
          <a:body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
        <p:nvSpPr>
          <p:cNvPr id="7" name="Text Placeholder 19"/>
          <p:cNvSpPr>
            <a:spLocks noGrp="1"/>
          </p:cNvSpPr>
          <p:nvPr>
            <p:ph type="body" sz="quarter" idx="18" hasCustomPrompt="1"/>
          </p:nvPr>
        </p:nvSpPr>
        <p:spPr>
          <a:xfrm>
            <a:off x="4127782" y="3717223"/>
            <a:ext cx="3936719" cy="1585028"/>
          </a:xfrm>
        </p:spPr>
        <p:txBody>
          <a:bodyPr/>
          <a:lstStyle>
            <a:lvl1pPr algn="ctr">
              <a:defRPr sz="2133" b="0">
                <a:solidFill>
                  <a:schemeClr val="accent4"/>
                </a:solidFill>
              </a:defRPr>
            </a:lvl1pPr>
            <a:lvl2pPr algn="ctr">
              <a:defRPr/>
            </a:lvl2pPr>
            <a:lvl3pPr algn="ctr">
              <a:defRPr/>
            </a:lvl3pPr>
            <a:lvl4pPr algn="ctr">
              <a:defRPr/>
            </a:lvl4pPr>
            <a:lvl5pPr algn="ctr">
              <a:defRPr/>
            </a:lvl5pPr>
          </a:lstStyle>
          <a:p>
            <a:pPr lvl="0"/>
            <a:r>
              <a:rPr lang="en-US"/>
              <a:t>Add subtitle here</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hord 8"/>
          <p:cNvSpPr>
            <a:spLocks noChangeAspect="1"/>
          </p:cNvSpPr>
          <p:nvPr userDrawn="1"/>
        </p:nvSpPr>
        <p:spPr>
          <a:xfrm>
            <a:off x="-962951" y="1748813"/>
            <a:ext cx="3480000" cy="3480000"/>
          </a:xfrm>
          <a:prstGeom prst="chord">
            <a:avLst>
              <a:gd name="adj1" fmla="val 14396573"/>
              <a:gd name="adj2" fmla="val 7228746"/>
            </a:avLst>
          </a:prstGeom>
          <a:solidFill>
            <a:schemeClr val="bg1"/>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chemeClr val="tx1"/>
              </a:solidFill>
            </a:endParaRPr>
          </a:p>
        </p:txBody>
      </p:sp>
      <p:sp>
        <p:nvSpPr>
          <p:cNvPr id="10" name="Chord 9"/>
          <p:cNvSpPr>
            <a:spLocks noChangeAspect="1"/>
          </p:cNvSpPr>
          <p:nvPr userDrawn="1"/>
        </p:nvSpPr>
        <p:spPr>
          <a:xfrm flipH="1">
            <a:off x="9648395" y="1748813"/>
            <a:ext cx="3480000" cy="3480000"/>
          </a:xfrm>
          <a:prstGeom prst="chord">
            <a:avLst>
              <a:gd name="adj1" fmla="val 14396573"/>
              <a:gd name="adj2" fmla="val 7228746"/>
            </a:avLst>
          </a:prstGeom>
          <a:solidFill>
            <a:schemeClr val="bg1"/>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chemeClr val="tx1"/>
              </a:solidFill>
            </a:endParaRPr>
          </a:p>
        </p:txBody>
      </p:sp>
    </p:spTree>
    <p:extLst>
      <p:ext uri="{BB962C8B-B14F-4D97-AF65-F5344CB8AC3E}">
        <p14:creationId xmlns:p14="http://schemas.microsoft.com/office/powerpoint/2010/main" val="2200513683"/>
      </p:ext>
    </p:extLst>
  </p:cSld>
  <p:clrMapOvr>
    <a:masterClrMapping/>
  </p:clrMapOvr>
  <p:transition>
    <p:fade thruBlk="1"/>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eneral content layout 1">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b="1"/>
            </a:lvl1pPr>
          </a:lstStyle>
          <a:p>
            <a:r>
              <a:rPr lang="en-US"/>
              <a:t>Click to edit Master title style</a:t>
            </a:r>
            <a:endParaRPr lang="en-GB"/>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
        <p:nvSpPr>
          <p:cNvPr id="7" name="Content Placeholder 6"/>
          <p:cNvSpPr>
            <a:spLocks noGrp="1"/>
          </p:cNvSpPr>
          <p:nvPr>
            <p:ph sz="quarter" idx="13" hasCustomPrompt="1"/>
          </p:nvPr>
        </p:nvSpPr>
        <p:spPr/>
        <p:txBody>
          <a:bodyPr/>
          <a:lstStyle>
            <a:lvl1pPr>
              <a:defRPr b="0">
                <a:solidFill>
                  <a:schemeClr val="tx1"/>
                </a:solidFill>
              </a:defRPr>
            </a:lvl1pPr>
            <a:lvl2pPr marL="380990" indent="-380990">
              <a:buFont typeface="Arial" pitchFamily="34" charset="0"/>
              <a:buChar char="•"/>
              <a:defRPr/>
            </a:lvl2pPr>
            <a:lvl5pPr>
              <a:defRPr/>
            </a:lvl5pPr>
            <a:lvl6pPr>
              <a:defRPr/>
            </a:lvl6pPr>
          </a:lstStyle>
          <a:p>
            <a:pPr lvl="0"/>
            <a:r>
              <a:rPr lang="en-US"/>
              <a:t>Click to edit body text</a:t>
            </a:r>
          </a:p>
          <a:p>
            <a:pPr lvl="2"/>
            <a:r>
              <a:rPr lang="en-US"/>
              <a:t>Third level</a:t>
            </a:r>
          </a:p>
          <a:p>
            <a:pPr lvl="3"/>
            <a:r>
              <a:rPr lang="en-US"/>
              <a:t>Fourth level</a:t>
            </a:r>
          </a:p>
        </p:txBody>
      </p:sp>
    </p:spTree>
    <p:extLst>
      <p:ext uri="{BB962C8B-B14F-4D97-AF65-F5344CB8AC3E}">
        <p14:creationId xmlns:p14="http://schemas.microsoft.com/office/powerpoint/2010/main" val="397037608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eneral content layout 2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b="1"/>
            </a:lvl1pPr>
          </a:lstStyle>
          <a:p>
            <a:r>
              <a:rPr lang="en-US"/>
              <a:t>Click to edit Master title style</a:t>
            </a:r>
            <a:endParaRPr lang="en-GB"/>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
        <p:nvSpPr>
          <p:cNvPr id="7" name="Content Placeholder 6"/>
          <p:cNvSpPr>
            <a:spLocks noGrp="1"/>
          </p:cNvSpPr>
          <p:nvPr>
            <p:ph sz="quarter" idx="13" hasCustomPrompt="1"/>
          </p:nvPr>
        </p:nvSpPr>
        <p:spPr>
          <a:xfrm>
            <a:off x="431371" y="1365251"/>
            <a:ext cx="5664629" cy="4440767"/>
          </a:xfrm>
        </p:spPr>
        <p:txBody>
          <a:bodyPr rIns="90000"/>
          <a:lstStyle>
            <a:lvl1pPr>
              <a:defRPr b="0">
                <a:solidFill>
                  <a:schemeClr val="tx1"/>
                </a:solidFill>
              </a:defRPr>
            </a:lvl1pPr>
            <a:lvl5pPr>
              <a:defRPr/>
            </a:lvl5pPr>
            <a:lvl6pPr>
              <a:defRPr/>
            </a:lvl6pPr>
          </a:lstStyle>
          <a:p>
            <a:pPr lvl="0"/>
            <a:r>
              <a:rPr lang="en-US"/>
              <a:t>Click to edit body text</a:t>
            </a:r>
          </a:p>
          <a:p>
            <a:pPr lvl="2"/>
            <a:r>
              <a:rPr lang="en-US"/>
              <a:t>Third level</a:t>
            </a:r>
          </a:p>
          <a:p>
            <a:pPr lvl="3"/>
            <a:r>
              <a:rPr lang="en-US"/>
              <a:t>Fourth level</a:t>
            </a:r>
          </a:p>
        </p:txBody>
      </p:sp>
      <p:sp>
        <p:nvSpPr>
          <p:cNvPr id="8" name="Content Placeholder 6"/>
          <p:cNvSpPr>
            <a:spLocks noGrp="1"/>
          </p:cNvSpPr>
          <p:nvPr>
            <p:ph sz="quarter" idx="14" hasCustomPrompt="1"/>
          </p:nvPr>
        </p:nvSpPr>
        <p:spPr>
          <a:xfrm>
            <a:off x="6085142" y="1365251"/>
            <a:ext cx="5664629" cy="4440767"/>
          </a:xfrm>
        </p:spPr>
        <p:txBody>
          <a:bodyPr lIns="90000" rIns="0"/>
          <a:lstStyle>
            <a:lvl1pPr>
              <a:defRPr/>
            </a:lvl1pPr>
            <a:lvl2pPr>
              <a:defRPr sz="2400"/>
            </a:lvl2pPr>
            <a:lvl5pPr>
              <a:defRPr/>
            </a:lvl5pPr>
            <a:lvl6pPr>
              <a:defRPr/>
            </a:lvl6pPr>
          </a:lstStyle>
          <a:p>
            <a:pPr lvl="1"/>
            <a:r>
              <a:rPr lang="en-US"/>
              <a:t>Second level</a:t>
            </a:r>
          </a:p>
          <a:p>
            <a:pPr lvl="2"/>
            <a:r>
              <a:rPr lang="en-US"/>
              <a:t>Third level</a:t>
            </a:r>
          </a:p>
          <a:p>
            <a:pPr lvl="3"/>
            <a:r>
              <a:rPr lang="en-US"/>
              <a:t>Fourth level</a:t>
            </a:r>
          </a:p>
        </p:txBody>
      </p:sp>
      <p:grpSp>
        <p:nvGrpSpPr>
          <p:cNvPr id="16" name="Group 11"/>
          <p:cNvGrpSpPr/>
          <p:nvPr userDrawn="1"/>
        </p:nvGrpSpPr>
        <p:grpSpPr>
          <a:xfrm>
            <a:off x="-2208922" y="1268761"/>
            <a:ext cx="2089436" cy="4383203"/>
            <a:chOff x="6195941" y="562596"/>
            <a:chExt cx="1567077" cy="3287402"/>
          </a:xfrm>
        </p:grpSpPr>
        <p:grpSp>
          <p:nvGrpSpPr>
            <p:cNvPr id="17" name="Group 113"/>
            <p:cNvGrpSpPr/>
            <p:nvPr/>
          </p:nvGrpSpPr>
          <p:grpSpPr>
            <a:xfrm>
              <a:off x="6195941" y="832626"/>
              <a:ext cx="1567077" cy="3017372"/>
              <a:chOff x="-1872716" y="660661"/>
              <a:chExt cx="1567077" cy="2263032"/>
            </a:xfrm>
          </p:grpSpPr>
          <p:sp>
            <p:nvSpPr>
              <p:cNvPr id="21" name="TextBox 20"/>
              <p:cNvSpPr txBox="1"/>
              <p:nvPr/>
            </p:nvSpPr>
            <p:spPr>
              <a:xfrm>
                <a:off x="-1872716" y="984698"/>
                <a:ext cx="1567077" cy="1938995"/>
              </a:xfrm>
              <a:prstGeom prst="rect">
                <a:avLst/>
              </a:prstGeom>
              <a:noFill/>
            </p:spPr>
            <p:txBody>
              <a:bodyPr wrap="square" lIns="0" tIns="0" rIns="0" bIns="0" rtlCol="0">
                <a:spAutoFit/>
              </a:bodyPr>
              <a:lstStyle/>
              <a:p>
                <a:r>
                  <a:rPr lang="en-GB" sz="1400">
                    <a:solidFill>
                      <a:srgbClr val="000000"/>
                    </a:solidFill>
                  </a:rPr>
                  <a:t>To format</a:t>
                </a:r>
                <a:r>
                  <a:rPr lang="en-GB" sz="1400" baseline="0">
                    <a:solidFill>
                      <a:srgbClr val="000000"/>
                    </a:solidFill>
                  </a:rPr>
                  <a:t> the body text, simply highlight the specific line(s) of text and click ‘tab’ or press ‘increase/decrease list level’ button. If you continue to click the ‘Tab’ button and the text turns white you have tabbed too far and should use the ‘decrease level’ button to return to compliant text.</a:t>
                </a:r>
              </a:p>
              <a:p>
                <a:endParaRPr lang="en-GB" sz="1400" baseline="0">
                  <a:solidFill>
                    <a:srgbClr val="000000"/>
                  </a:solidFill>
                </a:endParaRPr>
              </a:p>
              <a:p>
                <a:r>
                  <a:rPr lang="en-GB" sz="1400" baseline="0">
                    <a:solidFill>
                      <a:srgbClr val="000000"/>
                    </a:solidFill>
                  </a:rPr>
                  <a:t>Do not use the bullet point button to format your text.</a:t>
                </a:r>
                <a:endParaRPr lang="en-GB" sz="1400">
                  <a:solidFill>
                    <a:srgbClr val="000000"/>
                  </a:solidFill>
                </a:endParaRPr>
              </a:p>
            </p:txBody>
          </p:sp>
          <p:pic>
            <p:nvPicPr>
              <p:cNvPr id="22" name="Picture 21" descr="icon_information-white.png"/>
              <p:cNvPicPr>
                <a:picLocks noChangeAspect="1"/>
              </p:cNvPicPr>
              <p:nvPr/>
            </p:nvPicPr>
            <p:blipFill>
              <a:blip r:embed="rId2" cstate="print">
                <a:lum bright="-100000"/>
              </a:blip>
              <a:stretch>
                <a:fillRect/>
              </a:stretch>
            </p:blipFill>
            <p:spPr>
              <a:xfrm>
                <a:off x="-1764703" y="660661"/>
                <a:ext cx="121592" cy="240085"/>
              </a:xfrm>
              <a:prstGeom prst="rect">
                <a:avLst/>
              </a:prstGeom>
            </p:spPr>
          </p:pic>
        </p:grpSp>
        <p:grpSp>
          <p:nvGrpSpPr>
            <p:cNvPr id="18" name="Group 120"/>
            <p:cNvGrpSpPr/>
            <p:nvPr/>
          </p:nvGrpSpPr>
          <p:grpSpPr>
            <a:xfrm>
              <a:off x="6303954" y="562596"/>
              <a:ext cx="540060" cy="540060"/>
              <a:chOff x="6303954" y="562596"/>
              <a:chExt cx="540060" cy="540060"/>
            </a:xfrm>
          </p:grpSpPr>
          <p:sp>
            <p:nvSpPr>
              <p:cNvPr id="19" name="Donut 18"/>
              <p:cNvSpPr/>
              <p:nvPr/>
            </p:nvSpPr>
            <p:spPr>
              <a:xfrm>
                <a:off x="6303954" y="562596"/>
                <a:ext cx="540060" cy="540060"/>
              </a:xfrm>
              <a:prstGeom prst="donut">
                <a:avLst>
                  <a:gd name="adj" fmla="val 7083"/>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chemeClr val="tx1"/>
                  </a:solidFill>
                </a:endParaRPr>
              </a:p>
            </p:txBody>
          </p:sp>
          <p:pic>
            <p:nvPicPr>
              <p:cNvPr id="20" name="Picture 19" descr="increase_indent.png"/>
              <p:cNvPicPr>
                <a:picLocks noChangeAspect="1"/>
              </p:cNvPicPr>
              <p:nvPr/>
            </p:nvPicPr>
            <p:blipFill>
              <a:blip r:embed="rId3" cstate="screen">
                <a:lum bright="-100000"/>
                <a:extLst>
                  <a:ext uri="{28A0092B-C50C-407E-A947-70E740481C1C}">
                    <a14:useLocalDpi xmlns:a14="http://schemas.microsoft.com/office/drawing/2010/main"/>
                  </a:ext>
                </a:extLst>
              </a:blip>
              <a:stretch>
                <a:fillRect/>
              </a:stretch>
            </p:blipFill>
            <p:spPr>
              <a:xfrm>
                <a:off x="6425212" y="679422"/>
                <a:ext cx="317520" cy="317520"/>
              </a:xfrm>
              <a:prstGeom prst="rect">
                <a:avLst/>
              </a:prstGeom>
            </p:spPr>
          </p:pic>
        </p:grpSp>
      </p:grpSp>
    </p:spTree>
    <p:extLst>
      <p:ext uri="{BB962C8B-B14F-4D97-AF65-F5344CB8AC3E}">
        <p14:creationId xmlns:p14="http://schemas.microsoft.com/office/powerpoint/2010/main" val="317803486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eneral content layout 3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b="1"/>
            </a:lvl1pPr>
          </a:lstStyle>
          <a:p>
            <a:r>
              <a:rPr lang="en-US"/>
              <a:t>Click to edit Master title style</a:t>
            </a:r>
            <a:endParaRPr lang="en-GB"/>
          </a:p>
        </p:txBody>
      </p:sp>
      <p:sp>
        <p:nvSpPr>
          <p:cNvPr id="3" name="Date Placeholder 2"/>
          <p:cNvSpPr>
            <a:spLocks noGrp="1"/>
          </p:cNvSpPr>
          <p:nvPr>
            <p:ph type="dt" sz="half" idx="10"/>
          </p:nvPr>
        </p:nvSpPr>
        <p:spPr>
          <a:xfrm>
            <a:off x="897600" y="6432000"/>
            <a:ext cx="5198400" cy="148800"/>
          </a:xfrm>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
        <p:nvSpPr>
          <p:cNvPr id="7" name="Content Placeholder 6"/>
          <p:cNvSpPr>
            <a:spLocks noGrp="1"/>
          </p:cNvSpPr>
          <p:nvPr>
            <p:ph sz="quarter" idx="13" hasCustomPrompt="1"/>
          </p:nvPr>
        </p:nvSpPr>
        <p:spPr>
          <a:xfrm>
            <a:off x="431371" y="1365251"/>
            <a:ext cx="3772800" cy="4440767"/>
          </a:xfrm>
        </p:spPr>
        <p:txBody>
          <a:bodyPr rIns="90000"/>
          <a:lstStyle>
            <a:lvl1pPr>
              <a:defRPr/>
            </a:lvl1pPr>
            <a:lvl2pPr>
              <a:defRPr sz="2400" baseline="0"/>
            </a:lvl2pPr>
            <a:lvl3pPr>
              <a:defRPr/>
            </a:lvl3pPr>
            <a:lvl4pPr>
              <a:defRPr/>
            </a:lvl4pPr>
            <a:lvl5pPr>
              <a:defRPr/>
            </a:lvl5pPr>
            <a:lvl6pPr>
              <a:defRPr/>
            </a:lvl6pPr>
          </a:lstStyle>
          <a:p>
            <a:pPr lvl="1"/>
            <a:r>
              <a:rPr lang="en-US"/>
              <a:t>Click to edit body text</a:t>
            </a:r>
          </a:p>
          <a:p>
            <a:pPr lvl="2"/>
            <a:r>
              <a:rPr lang="en-US"/>
              <a:t>Second level</a:t>
            </a:r>
          </a:p>
          <a:p>
            <a:pPr lvl="3"/>
            <a:r>
              <a:rPr lang="en-US"/>
              <a:t>Third level</a:t>
            </a:r>
          </a:p>
        </p:txBody>
      </p:sp>
      <p:sp>
        <p:nvSpPr>
          <p:cNvPr id="9" name="Content Placeholder 6"/>
          <p:cNvSpPr>
            <a:spLocks noGrp="1"/>
          </p:cNvSpPr>
          <p:nvPr>
            <p:ph sz="quarter" idx="14" hasCustomPrompt="1"/>
          </p:nvPr>
        </p:nvSpPr>
        <p:spPr>
          <a:xfrm>
            <a:off x="4209600" y="1365251"/>
            <a:ext cx="3772800" cy="4440767"/>
          </a:xfrm>
        </p:spPr>
        <p:txBody>
          <a:bodyPr rIns="90000"/>
          <a:lstStyle>
            <a:lvl1pPr>
              <a:defRPr/>
            </a:lvl1pPr>
            <a:lvl2pPr>
              <a:defRPr sz="2400"/>
            </a:lvl2pPr>
            <a:lvl3pPr>
              <a:defRPr/>
            </a:lvl3pPr>
            <a:lvl4pPr>
              <a:defRPr/>
            </a:lvl4pPr>
            <a:lvl5pPr>
              <a:defRPr/>
            </a:lvl5pPr>
            <a:lvl6pPr>
              <a:defRPr/>
            </a:lvl6pPr>
          </a:lstStyle>
          <a:p>
            <a:pPr lvl="1"/>
            <a:r>
              <a:rPr lang="en-US"/>
              <a:t>Click to edit body text</a:t>
            </a:r>
          </a:p>
          <a:p>
            <a:pPr lvl="2"/>
            <a:r>
              <a:rPr lang="en-US"/>
              <a:t>Second level</a:t>
            </a:r>
          </a:p>
          <a:p>
            <a:pPr lvl="3"/>
            <a:r>
              <a:rPr lang="en-US"/>
              <a:t>Third level</a:t>
            </a:r>
          </a:p>
        </p:txBody>
      </p:sp>
      <p:sp>
        <p:nvSpPr>
          <p:cNvPr id="10" name="Content Placeholder 6"/>
          <p:cNvSpPr>
            <a:spLocks noGrp="1"/>
          </p:cNvSpPr>
          <p:nvPr>
            <p:ph sz="quarter" idx="15" hasCustomPrompt="1"/>
          </p:nvPr>
        </p:nvSpPr>
        <p:spPr>
          <a:xfrm>
            <a:off x="7987829" y="1365251"/>
            <a:ext cx="3772800" cy="4440767"/>
          </a:xfrm>
        </p:spPr>
        <p:txBody>
          <a:bodyPr rIns="90000"/>
          <a:lstStyle>
            <a:lvl1pPr>
              <a:defRPr/>
            </a:lvl1pPr>
            <a:lvl2pPr>
              <a:defRPr sz="2400"/>
            </a:lvl2pPr>
            <a:lvl3pPr>
              <a:defRPr/>
            </a:lvl3pPr>
            <a:lvl4pPr>
              <a:defRPr/>
            </a:lvl4pPr>
            <a:lvl5pPr>
              <a:defRPr/>
            </a:lvl5pPr>
            <a:lvl6pPr>
              <a:defRPr/>
            </a:lvl6pPr>
          </a:lstStyle>
          <a:p>
            <a:pPr lvl="1"/>
            <a:r>
              <a:rPr lang="en-US"/>
              <a:t>Click to edit body text</a:t>
            </a:r>
          </a:p>
          <a:p>
            <a:pPr lvl="2"/>
            <a:r>
              <a:rPr lang="en-US"/>
              <a:t>Second level</a:t>
            </a:r>
          </a:p>
          <a:p>
            <a:pPr lvl="3"/>
            <a:r>
              <a:rPr lang="en-US"/>
              <a:t>Third level</a:t>
            </a:r>
          </a:p>
        </p:txBody>
      </p:sp>
      <p:grpSp>
        <p:nvGrpSpPr>
          <p:cNvPr id="18" name="Group 11"/>
          <p:cNvGrpSpPr/>
          <p:nvPr userDrawn="1"/>
        </p:nvGrpSpPr>
        <p:grpSpPr>
          <a:xfrm>
            <a:off x="-2208922" y="1268761"/>
            <a:ext cx="2089436" cy="4383203"/>
            <a:chOff x="6195941" y="562596"/>
            <a:chExt cx="1567077" cy="3287402"/>
          </a:xfrm>
        </p:grpSpPr>
        <p:grpSp>
          <p:nvGrpSpPr>
            <p:cNvPr id="19" name="Group 113"/>
            <p:cNvGrpSpPr/>
            <p:nvPr/>
          </p:nvGrpSpPr>
          <p:grpSpPr>
            <a:xfrm>
              <a:off x="6195941" y="832626"/>
              <a:ext cx="1567077" cy="3017372"/>
              <a:chOff x="-1872716" y="660661"/>
              <a:chExt cx="1567077" cy="2263032"/>
            </a:xfrm>
          </p:grpSpPr>
          <p:sp>
            <p:nvSpPr>
              <p:cNvPr id="23" name="TextBox 22"/>
              <p:cNvSpPr txBox="1"/>
              <p:nvPr/>
            </p:nvSpPr>
            <p:spPr>
              <a:xfrm>
                <a:off x="-1872716" y="984698"/>
                <a:ext cx="1567077" cy="1938995"/>
              </a:xfrm>
              <a:prstGeom prst="rect">
                <a:avLst/>
              </a:prstGeom>
              <a:noFill/>
            </p:spPr>
            <p:txBody>
              <a:bodyPr wrap="square" lIns="0" tIns="0" rIns="0" bIns="0" rtlCol="0">
                <a:spAutoFit/>
              </a:bodyPr>
              <a:lstStyle/>
              <a:p>
                <a:r>
                  <a:rPr lang="en-GB" sz="1400">
                    <a:solidFill>
                      <a:srgbClr val="000000"/>
                    </a:solidFill>
                  </a:rPr>
                  <a:t>To format</a:t>
                </a:r>
                <a:r>
                  <a:rPr lang="en-GB" sz="1400" baseline="0">
                    <a:solidFill>
                      <a:srgbClr val="000000"/>
                    </a:solidFill>
                  </a:rPr>
                  <a:t> the body text, simply highlight the specific line(s) of text and click ‘tab’ or press ‘increase/decrease list level’ button. If you continue to click the ‘Tab’ button and the text turns white you have tabbed too far and should use the ‘decrease level’ button to return to compliant text.</a:t>
                </a:r>
              </a:p>
              <a:p>
                <a:endParaRPr lang="en-GB" sz="1400" baseline="0">
                  <a:solidFill>
                    <a:srgbClr val="000000"/>
                  </a:solidFill>
                </a:endParaRPr>
              </a:p>
              <a:p>
                <a:r>
                  <a:rPr lang="en-GB" sz="1400" baseline="0">
                    <a:solidFill>
                      <a:srgbClr val="000000"/>
                    </a:solidFill>
                  </a:rPr>
                  <a:t>Do not use the bullet point button to format your text.</a:t>
                </a:r>
                <a:endParaRPr lang="en-GB" sz="1400">
                  <a:solidFill>
                    <a:srgbClr val="000000"/>
                  </a:solidFill>
                </a:endParaRPr>
              </a:p>
            </p:txBody>
          </p:sp>
          <p:pic>
            <p:nvPicPr>
              <p:cNvPr id="24" name="Picture 23" descr="icon_information-white.png"/>
              <p:cNvPicPr>
                <a:picLocks noChangeAspect="1"/>
              </p:cNvPicPr>
              <p:nvPr/>
            </p:nvPicPr>
            <p:blipFill>
              <a:blip r:embed="rId2" cstate="print">
                <a:lum bright="-100000"/>
              </a:blip>
              <a:stretch>
                <a:fillRect/>
              </a:stretch>
            </p:blipFill>
            <p:spPr>
              <a:xfrm>
                <a:off x="-1764703" y="660661"/>
                <a:ext cx="121592" cy="240085"/>
              </a:xfrm>
              <a:prstGeom prst="rect">
                <a:avLst/>
              </a:prstGeom>
            </p:spPr>
          </p:pic>
        </p:grpSp>
        <p:grpSp>
          <p:nvGrpSpPr>
            <p:cNvPr id="20" name="Group 120"/>
            <p:cNvGrpSpPr/>
            <p:nvPr/>
          </p:nvGrpSpPr>
          <p:grpSpPr>
            <a:xfrm>
              <a:off x="6303954" y="562596"/>
              <a:ext cx="540060" cy="540060"/>
              <a:chOff x="6303954" y="562596"/>
              <a:chExt cx="540060" cy="540060"/>
            </a:xfrm>
          </p:grpSpPr>
          <p:sp>
            <p:nvSpPr>
              <p:cNvPr id="21" name="Donut 20"/>
              <p:cNvSpPr/>
              <p:nvPr/>
            </p:nvSpPr>
            <p:spPr>
              <a:xfrm>
                <a:off x="6303954" y="562596"/>
                <a:ext cx="540060" cy="540060"/>
              </a:xfrm>
              <a:prstGeom prst="donut">
                <a:avLst>
                  <a:gd name="adj" fmla="val 7083"/>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chemeClr val="tx1"/>
                  </a:solidFill>
                </a:endParaRPr>
              </a:p>
            </p:txBody>
          </p:sp>
          <p:pic>
            <p:nvPicPr>
              <p:cNvPr id="22" name="Picture 21" descr="increase_indent.png"/>
              <p:cNvPicPr>
                <a:picLocks noChangeAspect="1"/>
              </p:cNvPicPr>
              <p:nvPr/>
            </p:nvPicPr>
            <p:blipFill>
              <a:blip r:embed="rId3" cstate="screen">
                <a:lum bright="-100000"/>
                <a:extLst>
                  <a:ext uri="{28A0092B-C50C-407E-A947-70E740481C1C}">
                    <a14:useLocalDpi xmlns:a14="http://schemas.microsoft.com/office/drawing/2010/main"/>
                  </a:ext>
                </a:extLst>
              </a:blip>
              <a:stretch>
                <a:fillRect/>
              </a:stretch>
            </p:blipFill>
            <p:spPr>
              <a:xfrm>
                <a:off x="6425212" y="679422"/>
                <a:ext cx="317520" cy="317520"/>
              </a:xfrm>
              <a:prstGeom prst="rect">
                <a:avLst/>
              </a:prstGeom>
            </p:spPr>
          </p:pic>
        </p:grpSp>
      </p:grpSp>
    </p:spTree>
    <p:extLst>
      <p:ext uri="{BB962C8B-B14F-4D97-AF65-F5344CB8AC3E}">
        <p14:creationId xmlns:p14="http://schemas.microsoft.com/office/powerpoint/2010/main" val="296329635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1_BSI Title and Content - Te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
        <p:nvSpPr>
          <p:cNvPr id="3" name="Content Placeholder 2"/>
          <p:cNvSpPr>
            <a:spLocks noGrp="1"/>
          </p:cNvSpPr>
          <p:nvPr>
            <p:ph idx="1"/>
          </p:nvPr>
        </p:nvSpPr>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p:cNvSpPr>
            <a:spLocks noGrp="1"/>
          </p:cNvSpPr>
          <p:nvPr>
            <p:ph type="sldNum" sz="quarter" idx="12"/>
          </p:nvPr>
        </p:nvSpPr>
        <p:spPr/>
        <p:txBody>
          <a:bodyPr/>
          <a:lstStyle/>
          <a:p>
            <a:fld id="{22BD14A0-459B-CA46-A763-3163F186A6C2}" type="slidenum">
              <a:rPr lang="en-US" smtClean="0"/>
              <a:t>‹#›</a:t>
            </a:fld>
            <a:endParaRPr lang="en-US"/>
          </a:p>
        </p:txBody>
      </p:sp>
    </p:spTree>
    <p:extLst>
      <p:ext uri="{BB962C8B-B14F-4D97-AF65-F5344CB8AC3E}">
        <p14:creationId xmlns:p14="http://schemas.microsoft.com/office/powerpoint/2010/main" val="40722273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eneral content layout 4 (3 shaded columns)">
    <p:spTree>
      <p:nvGrpSpPr>
        <p:cNvPr id="1" name=""/>
        <p:cNvGrpSpPr/>
        <p:nvPr/>
      </p:nvGrpSpPr>
      <p:grpSpPr>
        <a:xfrm>
          <a:off x="0" y="0"/>
          <a:ext cx="0" cy="0"/>
          <a:chOff x="0" y="0"/>
          <a:chExt cx="0" cy="0"/>
        </a:xfrm>
      </p:grpSpPr>
      <p:sp>
        <p:nvSpPr>
          <p:cNvPr id="2" name="Title 1"/>
          <p:cNvSpPr>
            <a:spLocks noGrp="1"/>
          </p:cNvSpPr>
          <p:nvPr>
            <p:ph type="title"/>
          </p:nvPr>
        </p:nvSpPr>
        <p:spPr>
          <a:xfrm>
            <a:off x="431371" y="212643"/>
            <a:ext cx="11318400" cy="555363"/>
          </a:xfrm>
        </p:spPr>
        <p:txBody>
          <a:bodyPr>
            <a:normAutofit/>
          </a:bodyPr>
          <a:lstStyle>
            <a:lvl1pPr>
              <a:defRPr sz="3200" b="1"/>
            </a:lvl1pPr>
          </a:lstStyle>
          <a:p>
            <a:r>
              <a:rPr lang="en-US"/>
              <a:t>Click to edit Master title style</a:t>
            </a:r>
            <a:endParaRPr lang="en-GB"/>
          </a:p>
        </p:txBody>
      </p:sp>
      <p:sp>
        <p:nvSpPr>
          <p:cNvPr id="3" name="Date Placeholder 2"/>
          <p:cNvSpPr>
            <a:spLocks noGrp="1"/>
          </p:cNvSpPr>
          <p:nvPr>
            <p:ph type="dt" sz="half" idx="10"/>
          </p:nvPr>
        </p:nvSpPr>
        <p:spPr>
          <a:xfrm>
            <a:off x="897600" y="6432000"/>
            <a:ext cx="5198400" cy="148800"/>
          </a:xfrm>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
        <p:nvSpPr>
          <p:cNvPr id="7" name="Content Placeholder 6"/>
          <p:cNvSpPr>
            <a:spLocks noGrp="1"/>
          </p:cNvSpPr>
          <p:nvPr>
            <p:ph sz="quarter" idx="13" hasCustomPrompt="1"/>
          </p:nvPr>
        </p:nvSpPr>
        <p:spPr>
          <a:xfrm>
            <a:off x="431371" y="1365251"/>
            <a:ext cx="3600000" cy="4440767"/>
          </a:xfrm>
          <a:solidFill>
            <a:schemeClr val="accent6"/>
          </a:solidFill>
          <a:ln>
            <a:noFill/>
          </a:ln>
        </p:spPr>
        <p:txBody>
          <a:bodyPr lIns="90000" tIns="90000" rIns="90000" bIns="90000"/>
          <a:lstStyle>
            <a:lvl1pPr>
              <a:defRPr sz="1867"/>
            </a:lvl1pPr>
            <a:lvl2pPr>
              <a:defRPr sz="2400"/>
            </a:lvl2pPr>
            <a:lvl3pPr>
              <a:defRPr sz="2133"/>
            </a:lvl3pPr>
            <a:lvl4pPr>
              <a:defRPr sz="1867"/>
            </a:lvl4pPr>
            <a:lvl5pPr>
              <a:defRPr/>
            </a:lvl5pPr>
            <a:lvl6pPr>
              <a:defRPr sz="1867"/>
            </a:lvl6pPr>
          </a:lstStyle>
          <a:p>
            <a:pPr lvl="1"/>
            <a:r>
              <a:rPr lang="en-US"/>
              <a:t>Click to edit body text</a:t>
            </a:r>
          </a:p>
          <a:p>
            <a:pPr lvl="2"/>
            <a:r>
              <a:rPr lang="en-US"/>
              <a:t>Second level</a:t>
            </a:r>
          </a:p>
          <a:p>
            <a:pPr lvl="3"/>
            <a:r>
              <a:rPr lang="en-US"/>
              <a:t>Third level</a:t>
            </a:r>
          </a:p>
        </p:txBody>
      </p:sp>
      <p:sp>
        <p:nvSpPr>
          <p:cNvPr id="18" name="Content Placeholder 6"/>
          <p:cNvSpPr>
            <a:spLocks noGrp="1"/>
          </p:cNvSpPr>
          <p:nvPr>
            <p:ph sz="quarter" idx="14" hasCustomPrompt="1"/>
          </p:nvPr>
        </p:nvSpPr>
        <p:spPr>
          <a:xfrm>
            <a:off x="4290571" y="1365251"/>
            <a:ext cx="3600000" cy="4440767"/>
          </a:xfrm>
          <a:solidFill>
            <a:schemeClr val="accent6"/>
          </a:solidFill>
          <a:ln>
            <a:noFill/>
          </a:ln>
        </p:spPr>
        <p:txBody>
          <a:bodyPr lIns="90000" tIns="90000" rIns="90000" bIns="90000"/>
          <a:lstStyle>
            <a:lvl1pPr>
              <a:defRPr sz="1867"/>
            </a:lvl1pPr>
            <a:lvl2pPr>
              <a:defRPr sz="2400"/>
            </a:lvl2pPr>
            <a:lvl3pPr>
              <a:defRPr sz="2133"/>
            </a:lvl3pPr>
            <a:lvl4pPr>
              <a:defRPr sz="1867"/>
            </a:lvl4pPr>
            <a:lvl5pPr>
              <a:defRPr/>
            </a:lvl5pPr>
            <a:lvl6pPr>
              <a:defRPr sz="1867"/>
            </a:lvl6pPr>
          </a:lstStyle>
          <a:p>
            <a:pPr lvl="1"/>
            <a:r>
              <a:rPr lang="en-US"/>
              <a:t>Click to edit body text</a:t>
            </a:r>
          </a:p>
          <a:p>
            <a:pPr lvl="2"/>
            <a:r>
              <a:rPr lang="en-US"/>
              <a:t>Second level</a:t>
            </a:r>
          </a:p>
          <a:p>
            <a:pPr lvl="3"/>
            <a:r>
              <a:rPr lang="en-US"/>
              <a:t>Third level</a:t>
            </a:r>
          </a:p>
          <a:p>
            <a:pPr lvl="4"/>
            <a:endParaRPr lang="en-GB"/>
          </a:p>
        </p:txBody>
      </p:sp>
      <p:sp>
        <p:nvSpPr>
          <p:cNvPr id="19" name="Content Placeholder 6"/>
          <p:cNvSpPr>
            <a:spLocks noGrp="1"/>
          </p:cNvSpPr>
          <p:nvPr>
            <p:ph sz="quarter" idx="15" hasCustomPrompt="1"/>
          </p:nvPr>
        </p:nvSpPr>
        <p:spPr>
          <a:xfrm>
            <a:off x="8149771" y="1365251"/>
            <a:ext cx="3600000" cy="4440767"/>
          </a:xfrm>
          <a:solidFill>
            <a:schemeClr val="accent6"/>
          </a:solidFill>
          <a:ln>
            <a:noFill/>
          </a:ln>
        </p:spPr>
        <p:txBody>
          <a:bodyPr lIns="90000" tIns="90000" rIns="90000" bIns="90000"/>
          <a:lstStyle>
            <a:lvl1pPr>
              <a:defRPr sz="1867"/>
            </a:lvl1pPr>
            <a:lvl2pPr>
              <a:defRPr sz="2400"/>
            </a:lvl2pPr>
            <a:lvl3pPr>
              <a:defRPr sz="2133"/>
            </a:lvl3pPr>
            <a:lvl4pPr>
              <a:defRPr sz="1867"/>
            </a:lvl4pPr>
            <a:lvl5pPr>
              <a:defRPr/>
            </a:lvl5pPr>
            <a:lvl6pPr>
              <a:defRPr sz="1867"/>
            </a:lvl6pPr>
          </a:lstStyle>
          <a:p>
            <a:pPr lvl="1"/>
            <a:r>
              <a:rPr lang="en-US"/>
              <a:t>Click to edit body text</a:t>
            </a:r>
          </a:p>
          <a:p>
            <a:pPr lvl="2"/>
            <a:r>
              <a:rPr lang="en-US"/>
              <a:t>Second level</a:t>
            </a:r>
          </a:p>
          <a:p>
            <a:pPr lvl="3"/>
            <a:r>
              <a:rPr lang="en-US"/>
              <a:t>Third level</a:t>
            </a:r>
          </a:p>
          <a:p>
            <a:pPr lvl="5"/>
            <a:endParaRPr lang="en-GB"/>
          </a:p>
        </p:txBody>
      </p:sp>
      <p:grpSp>
        <p:nvGrpSpPr>
          <p:cNvPr id="20" name="Group 11"/>
          <p:cNvGrpSpPr/>
          <p:nvPr userDrawn="1"/>
        </p:nvGrpSpPr>
        <p:grpSpPr>
          <a:xfrm>
            <a:off x="-2208922" y="1268761"/>
            <a:ext cx="2089436" cy="4383203"/>
            <a:chOff x="6195941" y="562596"/>
            <a:chExt cx="1567077" cy="3287402"/>
          </a:xfrm>
        </p:grpSpPr>
        <p:grpSp>
          <p:nvGrpSpPr>
            <p:cNvPr id="21" name="Group 113"/>
            <p:cNvGrpSpPr/>
            <p:nvPr/>
          </p:nvGrpSpPr>
          <p:grpSpPr>
            <a:xfrm>
              <a:off x="6195941" y="832626"/>
              <a:ext cx="1567077" cy="3017372"/>
              <a:chOff x="-1872716" y="660661"/>
              <a:chExt cx="1567077" cy="2263032"/>
            </a:xfrm>
          </p:grpSpPr>
          <p:sp>
            <p:nvSpPr>
              <p:cNvPr id="25" name="TextBox 24"/>
              <p:cNvSpPr txBox="1"/>
              <p:nvPr/>
            </p:nvSpPr>
            <p:spPr>
              <a:xfrm>
                <a:off x="-1872716" y="984698"/>
                <a:ext cx="1567077" cy="1938995"/>
              </a:xfrm>
              <a:prstGeom prst="rect">
                <a:avLst/>
              </a:prstGeom>
              <a:noFill/>
            </p:spPr>
            <p:txBody>
              <a:bodyPr wrap="square" lIns="0" tIns="0" rIns="0" bIns="0" rtlCol="0">
                <a:spAutoFit/>
              </a:bodyPr>
              <a:lstStyle/>
              <a:p>
                <a:r>
                  <a:rPr lang="en-GB" sz="1400">
                    <a:solidFill>
                      <a:srgbClr val="000000"/>
                    </a:solidFill>
                  </a:rPr>
                  <a:t>To format</a:t>
                </a:r>
                <a:r>
                  <a:rPr lang="en-GB" sz="1400" baseline="0">
                    <a:solidFill>
                      <a:srgbClr val="000000"/>
                    </a:solidFill>
                  </a:rPr>
                  <a:t> the body text, simply highlight the specific line(s) of text and click ‘tab’ or press ‘increase/decrease list level’ button. If you continue to click the ‘Tab’ button and the text turns white you have tabbed too far and should use the ‘decrease level’ button to return to compliant text.</a:t>
                </a:r>
              </a:p>
              <a:p>
                <a:endParaRPr lang="en-GB" sz="1400" baseline="0">
                  <a:solidFill>
                    <a:srgbClr val="000000"/>
                  </a:solidFill>
                </a:endParaRPr>
              </a:p>
              <a:p>
                <a:r>
                  <a:rPr lang="en-GB" sz="1400" baseline="0">
                    <a:solidFill>
                      <a:srgbClr val="000000"/>
                    </a:solidFill>
                  </a:rPr>
                  <a:t>Do not use the bullet point button to format your text.</a:t>
                </a:r>
                <a:endParaRPr lang="en-GB" sz="1400">
                  <a:solidFill>
                    <a:srgbClr val="000000"/>
                  </a:solidFill>
                </a:endParaRPr>
              </a:p>
            </p:txBody>
          </p:sp>
          <p:pic>
            <p:nvPicPr>
              <p:cNvPr id="26" name="Picture 25" descr="icon_information-white.png"/>
              <p:cNvPicPr>
                <a:picLocks noChangeAspect="1"/>
              </p:cNvPicPr>
              <p:nvPr/>
            </p:nvPicPr>
            <p:blipFill>
              <a:blip r:embed="rId2" cstate="print">
                <a:lum bright="-100000"/>
              </a:blip>
              <a:stretch>
                <a:fillRect/>
              </a:stretch>
            </p:blipFill>
            <p:spPr>
              <a:xfrm>
                <a:off x="-1764703" y="660661"/>
                <a:ext cx="121592" cy="240085"/>
              </a:xfrm>
              <a:prstGeom prst="rect">
                <a:avLst/>
              </a:prstGeom>
            </p:spPr>
          </p:pic>
        </p:grpSp>
        <p:grpSp>
          <p:nvGrpSpPr>
            <p:cNvPr id="22" name="Group 120"/>
            <p:cNvGrpSpPr/>
            <p:nvPr/>
          </p:nvGrpSpPr>
          <p:grpSpPr>
            <a:xfrm>
              <a:off x="6303954" y="562596"/>
              <a:ext cx="540060" cy="540060"/>
              <a:chOff x="6303954" y="562596"/>
              <a:chExt cx="540060" cy="540060"/>
            </a:xfrm>
          </p:grpSpPr>
          <p:sp>
            <p:nvSpPr>
              <p:cNvPr id="23" name="Donut 22"/>
              <p:cNvSpPr/>
              <p:nvPr/>
            </p:nvSpPr>
            <p:spPr>
              <a:xfrm>
                <a:off x="6303954" y="562596"/>
                <a:ext cx="540060" cy="540060"/>
              </a:xfrm>
              <a:prstGeom prst="donut">
                <a:avLst>
                  <a:gd name="adj" fmla="val 7083"/>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chemeClr val="tx1"/>
                  </a:solidFill>
                </a:endParaRPr>
              </a:p>
            </p:txBody>
          </p:sp>
          <p:pic>
            <p:nvPicPr>
              <p:cNvPr id="24" name="Picture 23" descr="increase_indent.png"/>
              <p:cNvPicPr>
                <a:picLocks noChangeAspect="1"/>
              </p:cNvPicPr>
              <p:nvPr/>
            </p:nvPicPr>
            <p:blipFill>
              <a:blip r:embed="rId3" cstate="screen">
                <a:lum bright="-100000"/>
                <a:extLst>
                  <a:ext uri="{28A0092B-C50C-407E-A947-70E740481C1C}">
                    <a14:useLocalDpi xmlns:a14="http://schemas.microsoft.com/office/drawing/2010/main"/>
                  </a:ext>
                </a:extLst>
              </a:blip>
              <a:stretch>
                <a:fillRect/>
              </a:stretch>
            </p:blipFill>
            <p:spPr>
              <a:xfrm>
                <a:off x="6425212" y="679422"/>
                <a:ext cx="317520" cy="317520"/>
              </a:xfrm>
              <a:prstGeom prst="rect">
                <a:avLst/>
              </a:prstGeom>
            </p:spPr>
          </p:pic>
        </p:grpSp>
      </p:grpSp>
    </p:spTree>
    <p:extLst>
      <p:ext uri="{BB962C8B-B14F-4D97-AF65-F5344CB8AC3E}">
        <p14:creationId xmlns:p14="http://schemas.microsoft.com/office/powerpoint/2010/main" val="153854539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eneral content layout 5  (4 shaded columns)">
    <p:spTree>
      <p:nvGrpSpPr>
        <p:cNvPr id="1" name=""/>
        <p:cNvGrpSpPr/>
        <p:nvPr/>
      </p:nvGrpSpPr>
      <p:grpSpPr>
        <a:xfrm>
          <a:off x="0" y="0"/>
          <a:ext cx="0" cy="0"/>
          <a:chOff x="0" y="0"/>
          <a:chExt cx="0" cy="0"/>
        </a:xfrm>
      </p:grpSpPr>
      <p:sp>
        <p:nvSpPr>
          <p:cNvPr id="2" name="Title 1"/>
          <p:cNvSpPr>
            <a:spLocks noGrp="1"/>
          </p:cNvSpPr>
          <p:nvPr>
            <p:ph type="title"/>
          </p:nvPr>
        </p:nvSpPr>
        <p:spPr>
          <a:xfrm>
            <a:off x="431371" y="212643"/>
            <a:ext cx="11318400" cy="555363"/>
          </a:xfrm>
        </p:spPr>
        <p:txBody>
          <a:bodyPr>
            <a:normAutofit/>
          </a:bodyPr>
          <a:lstStyle>
            <a:lvl1pPr>
              <a:defRPr sz="3200" b="1"/>
            </a:lvl1pPr>
          </a:lstStyle>
          <a:p>
            <a:r>
              <a:rPr lang="en-US"/>
              <a:t>Click to edit Master title style</a:t>
            </a:r>
            <a:endParaRPr lang="en-GB"/>
          </a:p>
        </p:txBody>
      </p:sp>
      <p:sp>
        <p:nvSpPr>
          <p:cNvPr id="3" name="Date Placeholder 2"/>
          <p:cNvSpPr>
            <a:spLocks noGrp="1"/>
          </p:cNvSpPr>
          <p:nvPr>
            <p:ph type="dt" sz="half" idx="10"/>
          </p:nvPr>
        </p:nvSpPr>
        <p:spPr>
          <a:xfrm>
            <a:off x="897600" y="6432000"/>
            <a:ext cx="5198400" cy="148800"/>
          </a:xfrm>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
        <p:nvSpPr>
          <p:cNvPr id="7" name="Content Placeholder 6"/>
          <p:cNvSpPr>
            <a:spLocks noGrp="1"/>
          </p:cNvSpPr>
          <p:nvPr>
            <p:ph sz="quarter" idx="13" hasCustomPrompt="1"/>
          </p:nvPr>
        </p:nvSpPr>
        <p:spPr>
          <a:xfrm>
            <a:off x="431371" y="1365251"/>
            <a:ext cx="2640293" cy="4440767"/>
          </a:xfrm>
          <a:solidFill>
            <a:schemeClr val="accent6"/>
          </a:solidFill>
          <a:ln>
            <a:noFill/>
          </a:ln>
        </p:spPr>
        <p:txBody>
          <a:bodyPr lIns="90000" tIns="90000" rIns="90000" bIns="90000"/>
          <a:lstStyle>
            <a:lvl1pPr>
              <a:defRPr sz="1867"/>
            </a:lvl1pPr>
            <a:lvl2pPr>
              <a:defRPr sz="2400"/>
            </a:lvl2pPr>
            <a:lvl3pPr>
              <a:defRPr sz="2133"/>
            </a:lvl3pPr>
            <a:lvl4pPr>
              <a:defRPr sz="1867"/>
            </a:lvl4pPr>
            <a:lvl5pPr>
              <a:defRPr/>
            </a:lvl5pPr>
            <a:lvl6pPr>
              <a:defRPr sz="1867"/>
            </a:lvl6pPr>
          </a:lstStyle>
          <a:p>
            <a:pPr lvl="1"/>
            <a:r>
              <a:rPr lang="en-US"/>
              <a:t>Click to edit body text</a:t>
            </a:r>
          </a:p>
          <a:p>
            <a:pPr lvl="2"/>
            <a:r>
              <a:rPr lang="en-US"/>
              <a:t>Second level</a:t>
            </a:r>
          </a:p>
          <a:p>
            <a:pPr lvl="3"/>
            <a:r>
              <a:rPr lang="en-US"/>
              <a:t>Third level</a:t>
            </a:r>
          </a:p>
        </p:txBody>
      </p:sp>
      <p:grpSp>
        <p:nvGrpSpPr>
          <p:cNvPr id="6" name="Group 11"/>
          <p:cNvGrpSpPr/>
          <p:nvPr userDrawn="1"/>
        </p:nvGrpSpPr>
        <p:grpSpPr>
          <a:xfrm>
            <a:off x="-2208922" y="1268761"/>
            <a:ext cx="2089436" cy="4383203"/>
            <a:chOff x="6195941" y="562596"/>
            <a:chExt cx="1567077" cy="3287402"/>
          </a:xfrm>
        </p:grpSpPr>
        <p:grpSp>
          <p:nvGrpSpPr>
            <p:cNvPr id="8" name="Group 113"/>
            <p:cNvGrpSpPr/>
            <p:nvPr/>
          </p:nvGrpSpPr>
          <p:grpSpPr>
            <a:xfrm>
              <a:off x="6195941" y="832626"/>
              <a:ext cx="1567077" cy="3017372"/>
              <a:chOff x="-1872716" y="660661"/>
              <a:chExt cx="1567077" cy="2263032"/>
            </a:xfrm>
          </p:grpSpPr>
          <p:sp>
            <p:nvSpPr>
              <p:cNvPr id="16" name="TextBox 15"/>
              <p:cNvSpPr txBox="1"/>
              <p:nvPr/>
            </p:nvSpPr>
            <p:spPr>
              <a:xfrm>
                <a:off x="-1872716" y="984698"/>
                <a:ext cx="1567077" cy="1938995"/>
              </a:xfrm>
              <a:prstGeom prst="rect">
                <a:avLst/>
              </a:prstGeom>
              <a:noFill/>
            </p:spPr>
            <p:txBody>
              <a:bodyPr wrap="square" lIns="0" tIns="0" rIns="0" bIns="0" rtlCol="0">
                <a:spAutoFit/>
              </a:bodyPr>
              <a:lstStyle/>
              <a:p>
                <a:r>
                  <a:rPr lang="en-GB" sz="1400">
                    <a:solidFill>
                      <a:srgbClr val="000000"/>
                    </a:solidFill>
                  </a:rPr>
                  <a:t>To format</a:t>
                </a:r>
                <a:r>
                  <a:rPr lang="en-GB" sz="1400" baseline="0">
                    <a:solidFill>
                      <a:srgbClr val="000000"/>
                    </a:solidFill>
                  </a:rPr>
                  <a:t> the body text, simply highlight the specific line(s) of text and click ‘tab’ or press ‘increase/decrease list level’ button. If you continue to click the ‘Tab’ button and the text turns white you have tabbed too far and should use the ‘decrease level’ button to return to compliant text.</a:t>
                </a:r>
              </a:p>
              <a:p>
                <a:endParaRPr lang="en-GB" sz="1400" baseline="0">
                  <a:solidFill>
                    <a:srgbClr val="000000"/>
                  </a:solidFill>
                </a:endParaRPr>
              </a:p>
              <a:p>
                <a:r>
                  <a:rPr lang="en-GB" sz="1400" baseline="0">
                    <a:solidFill>
                      <a:srgbClr val="000000"/>
                    </a:solidFill>
                  </a:rPr>
                  <a:t>Do not use the bullet point button to format your text.</a:t>
                </a:r>
                <a:endParaRPr lang="en-GB" sz="1400">
                  <a:solidFill>
                    <a:srgbClr val="000000"/>
                  </a:solidFill>
                </a:endParaRPr>
              </a:p>
            </p:txBody>
          </p:sp>
          <p:pic>
            <p:nvPicPr>
              <p:cNvPr id="17" name="Picture 16" descr="icon_information-white.png"/>
              <p:cNvPicPr>
                <a:picLocks noChangeAspect="1"/>
              </p:cNvPicPr>
              <p:nvPr/>
            </p:nvPicPr>
            <p:blipFill>
              <a:blip r:embed="rId2" cstate="print">
                <a:lum bright="-100000"/>
              </a:blip>
              <a:stretch>
                <a:fillRect/>
              </a:stretch>
            </p:blipFill>
            <p:spPr>
              <a:xfrm>
                <a:off x="-1764703" y="660661"/>
                <a:ext cx="121592" cy="240085"/>
              </a:xfrm>
              <a:prstGeom prst="rect">
                <a:avLst/>
              </a:prstGeom>
            </p:spPr>
          </p:pic>
        </p:grpSp>
        <p:grpSp>
          <p:nvGrpSpPr>
            <p:cNvPr id="9" name="Group 120"/>
            <p:cNvGrpSpPr/>
            <p:nvPr/>
          </p:nvGrpSpPr>
          <p:grpSpPr>
            <a:xfrm>
              <a:off x="6303954" y="562596"/>
              <a:ext cx="540060" cy="540060"/>
              <a:chOff x="6303954" y="562596"/>
              <a:chExt cx="540060" cy="540060"/>
            </a:xfrm>
          </p:grpSpPr>
          <p:sp>
            <p:nvSpPr>
              <p:cNvPr id="14" name="Donut 13"/>
              <p:cNvSpPr/>
              <p:nvPr/>
            </p:nvSpPr>
            <p:spPr>
              <a:xfrm>
                <a:off x="6303954" y="562596"/>
                <a:ext cx="540060" cy="540060"/>
              </a:xfrm>
              <a:prstGeom prst="donut">
                <a:avLst>
                  <a:gd name="adj" fmla="val 7083"/>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chemeClr val="tx1"/>
                  </a:solidFill>
                </a:endParaRPr>
              </a:p>
            </p:txBody>
          </p:sp>
          <p:pic>
            <p:nvPicPr>
              <p:cNvPr id="15" name="Picture 14" descr="increase_indent.png"/>
              <p:cNvPicPr>
                <a:picLocks noChangeAspect="1"/>
              </p:cNvPicPr>
              <p:nvPr/>
            </p:nvPicPr>
            <p:blipFill>
              <a:blip r:embed="rId3" cstate="screen">
                <a:lum bright="-100000"/>
                <a:extLst>
                  <a:ext uri="{28A0092B-C50C-407E-A947-70E740481C1C}">
                    <a14:useLocalDpi xmlns:a14="http://schemas.microsoft.com/office/drawing/2010/main"/>
                  </a:ext>
                </a:extLst>
              </a:blip>
              <a:stretch>
                <a:fillRect/>
              </a:stretch>
            </p:blipFill>
            <p:spPr>
              <a:xfrm>
                <a:off x="6425212" y="679422"/>
                <a:ext cx="317520" cy="317520"/>
              </a:xfrm>
              <a:prstGeom prst="rect">
                <a:avLst/>
              </a:prstGeom>
            </p:spPr>
          </p:pic>
        </p:grpSp>
      </p:grpSp>
      <p:sp>
        <p:nvSpPr>
          <p:cNvPr id="21" name="Content Placeholder 6"/>
          <p:cNvSpPr>
            <a:spLocks noGrp="1"/>
          </p:cNvSpPr>
          <p:nvPr>
            <p:ph sz="quarter" idx="14" hasCustomPrompt="1"/>
          </p:nvPr>
        </p:nvSpPr>
        <p:spPr>
          <a:xfrm>
            <a:off x="3324074" y="1365251"/>
            <a:ext cx="2640293" cy="4440767"/>
          </a:xfrm>
          <a:solidFill>
            <a:schemeClr val="accent6"/>
          </a:solidFill>
          <a:ln>
            <a:noFill/>
          </a:ln>
        </p:spPr>
        <p:txBody>
          <a:bodyPr lIns="90000" tIns="90000" rIns="90000" bIns="90000"/>
          <a:lstStyle>
            <a:lvl1pPr>
              <a:defRPr sz="1867"/>
            </a:lvl1pPr>
            <a:lvl2pPr>
              <a:defRPr sz="2400"/>
            </a:lvl2pPr>
            <a:lvl3pPr>
              <a:defRPr sz="2133"/>
            </a:lvl3pPr>
            <a:lvl4pPr>
              <a:defRPr sz="1867"/>
            </a:lvl4pPr>
            <a:lvl5pPr>
              <a:defRPr/>
            </a:lvl5pPr>
            <a:lvl6pPr>
              <a:defRPr sz="1867"/>
            </a:lvl6pPr>
          </a:lstStyle>
          <a:p>
            <a:pPr lvl="1"/>
            <a:r>
              <a:rPr lang="en-US"/>
              <a:t>Click to edit body text</a:t>
            </a:r>
          </a:p>
          <a:p>
            <a:pPr lvl="2"/>
            <a:r>
              <a:rPr lang="en-US"/>
              <a:t>Second level</a:t>
            </a:r>
          </a:p>
          <a:p>
            <a:pPr lvl="3"/>
            <a:r>
              <a:rPr lang="en-US"/>
              <a:t>Third level</a:t>
            </a:r>
          </a:p>
        </p:txBody>
      </p:sp>
      <p:sp>
        <p:nvSpPr>
          <p:cNvPr id="22" name="Content Placeholder 6"/>
          <p:cNvSpPr>
            <a:spLocks noGrp="1"/>
          </p:cNvSpPr>
          <p:nvPr>
            <p:ph sz="quarter" idx="15" hasCustomPrompt="1"/>
          </p:nvPr>
        </p:nvSpPr>
        <p:spPr>
          <a:xfrm>
            <a:off x="6216776" y="1365251"/>
            <a:ext cx="2640293" cy="4440767"/>
          </a:xfrm>
          <a:solidFill>
            <a:schemeClr val="accent6"/>
          </a:solidFill>
          <a:ln>
            <a:noFill/>
          </a:ln>
        </p:spPr>
        <p:txBody>
          <a:bodyPr lIns="90000" tIns="90000" rIns="90000" bIns="90000"/>
          <a:lstStyle>
            <a:lvl1pPr>
              <a:defRPr sz="1867"/>
            </a:lvl1pPr>
            <a:lvl2pPr>
              <a:defRPr sz="2400"/>
            </a:lvl2pPr>
            <a:lvl3pPr>
              <a:defRPr sz="2133"/>
            </a:lvl3pPr>
            <a:lvl4pPr>
              <a:defRPr sz="1867"/>
            </a:lvl4pPr>
            <a:lvl5pPr>
              <a:defRPr/>
            </a:lvl5pPr>
            <a:lvl6pPr>
              <a:defRPr sz="1867"/>
            </a:lvl6pPr>
          </a:lstStyle>
          <a:p>
            <a:pPr lvl="1"/>
            <a:r>
              <a:rPr lang="en-US"/>
              <a:t>Click to edit body text</a:t>
            </a:r>
          </a:p>
          <a:p>
            <a:pPr lvl="2"/>
            <a:r>
              <a:rPr lang="en-US"/>
              <a:t>Second level</a:t>
            </a:r>
          </a:p>
          <a:p>
            <a:pPr lvl="3"/>
            <a:r>
              <a:rPr lang="en-US"/>
              <a:t>Third level</a:t>
            </a:r>
          </a:p>
        </p:txBody>
      </p:sp>
      <p:sp>
        <p:nvSpPr>
          <p:cNvPr id="23" name="Content Placeholder 6"/>
          <p:cNvSpPr>
            <a:spLocks noGrp="1"/>
          </p:cNvSpPr>
          <p:nvPr>
            <p:ph sz="quarter" idx="16" hasCustomPrompt="1"/>
          </p:nvPr>
        </p:nvSpPr>
        <p:spPr>
          <a:xfrm>
            <a:off x="9109478" y="1365251"/>
            <a:ext cx="2640293" cy="4440767"/>
          </a:xfrm>
          <a:solidFill>
            <a:schemeClr val="accent6"/>
          </a:solidFill>
          <a:ln>
            <a:noFill/>
          </a:ln>
        </p:spPr>
        <p:txBody>
          <a:bodyPr lIns="90000" tIns="90000" rIns="90000" bIns="90000"/>
          <a:lstStyle>
            <a:lvl1pPr>
              <a:defRPr sz="1867"/>
            </a:lvl1pPr>
            <a:lvl2pPr>
              <a:defRPr sz="2400"/>
            </a:lvl2pPr>
            <a:lvl3pPr>
              <a:defRPr sz="2133"/>
            </a:lvl3pPr>
            <a:lvl4pPr>
              <a:defRPr sz="1867"/>
            </a:lvl4pPr>
            <a:lvl5pPr>
              <a:defRPr/>
            </a:lvl5pPr>
            <a:lvl6pPr>
              <a:defRPr sz="1867"/>
            </a:lvl6pPr>
          </a:lstStyle>
          <a:p>
            <a:pPr lvl="1"/>
            <a:r>
              <a:rPr lang="en-US"/>
              <a:t>Click to edit body text</a:t>
            </a:r>
          </a:p>
          <a:p>
            <a:pPr lvl="2"/>
            <a:r>
              <a:rPr lang="en-US"/>
              <a:t>Second level</a:t>
            </a:r>
          </a:p>
          <a:p>
            <a:pPr lvl="3"/>
            <a:r>
              <a:rPr lang="en-US"/>
              <a:t>Third level</a:t>
            </a:r>
          </a:p>
        </p:txBody>
      </p:sp>
    </p:spTree>
    <p:extLst>
      <p:ext uri="{BB962C8B-B14F-4D97-AF65-F5344CB8AC3E}">
        <p14:creationId xmlns:p14="http://schemas.microsoft.com/office/powerpoint/2010/main" val="117116124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Tree>
    <p:extLst>
      <p:ext uri="{BB962C8B-B14F-4D97-AF65-F5344CB8AC3E}">
        <p14:creationId xmlns:p14="http://schemas.microsoft.com/office/powerpoint/2010/main" val="254594852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ogo slide ">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pic>
        <p:nvPicPr>
          <p:cNvPr id="2051" name="Picture 3" descr="C:\Users\SanikS\Desktop\BSICOR1PT.pn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735627" y="2180862"/>
            <a:ext cx="6624736" cy="14479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71411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1_One_ column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One column</a:t>
            </a:r>
            <a:endParaRPr lang="en-GB"/>
          </a:p>
        </p:txBody>
      </p:sp>
      <p:sp>
        <p:nvSpPr>
          <p:cNvPr id="7" name="Text Placeholder 6"/>
          <p:cNvSpPr>
            <a:spLocks noGrp="1"/>
          </p:cNvSpPr>
          <p:nvPr>
            <p:ph type="body" sz="quarter" idx="12" hasCustomPrompt="1"/>
          </p:nvPr>
        </p:nvSpPr>
        <p:spPr>
          <a:xfrm>
            <a:off x="450851" y="1315314"/>
            <a:ext cx="11263629" cy="238687"/>
          </a:xfrm>
          <a:prstGeom prst="rect">
            <a:avLst/>
          </a:prstGeom>
        </p:spPr>
        <p:txBody>
          <a:bodyPr lIns="0" tIns="0" rIns="0" bIns="0">
            <a:noAutofit/>
          </a:bodyPr>
          <a:lstStyle>
            <a:lvl1pPr marL="0" indent="0">
              <a:buNone/>
              <a:defRPr sz="2399" b="1">
                <a:solidFill>
                  <a:schemeClr val="tx2"/>
                </a:solidFill>
              </a:defRPr>
            </a:lvl1pPr>
          </a:lstStyle>
          <a:p>
            <a:pPr lvl="0"/>
            <a:r>
              <a:rPr lang="en-US"/>
              <a:t>Large subhead red</a:t>
            </a:r>
          </a:p>
        </p:txBody>
      </p:sp>
      <p:sp>
        <p:nvSpPr>
          <p:cNvPr id="9" name="Text Placeholder 6"/>
          <p:cNvSpPr>
            <a:spLocks noGrp="1"/>
          </p:cNvSpPr>
          <p:nvPr>
            <p:ph type="body" sz="quarter" idx="14"/>
          </p:nvPr>
        </p:nvSpPr>
        <p:spPr>
          <a:xfrm>
            <a:off x="450851" y="1716510"/>
            <a:ext cx="11263629" cy="4072903"/>
          </a:xfrm>
          <a:prstGeom prst="rect">
            <a:avLst/>
          </a:prstGeom>
        </p:spPr>
        <p:txBody>
          <a:bodyPr lIns="0" tIns="0" rIns="0" bIns="0">
            <a:normAutofit/>
          </a:bodyPr>
          <a:lstStyle>
            <a:lvl1pPr marL="0" indent="0">
              <a:lnSpc>
                <a:spcPct val="100000"/>
              </a:lnSpc>
              <a:spcBef>
                <a:spcPts val="800"/>
              </a:spcBef>
              <a:buNone/>
              <a:defRPr sz="2133">
                <a:solidFill>
                  <a:schemeClr val="tx1"/>
                </a:solidFill>
              </a:defRPr>
            </a:lvl1pPr>
          </a:lstStyle>
          <a:p>
            <a:pPr lvl="0"/>
            <a:r>
              <a:rPr lang="en-US"/>
              <a:t>Click to edit Master text styles</a:t>
            </a:r>
          </a:p>
        </p:txBody>
      </p:sp>
      <p:sp>
        <p:nvSpPr>
          <p:cNvPr id="6" name="Footer Placeholder 2"/>
          <p:cNvSpPr>
            <a:spLocks noGrp="1"/>
          </p:cNvSpPr>
          <p:nvPr>
            <p:ph type="ftr" sz="quarter" idx="4294967295"/>
          </p:nvPr>
        </p:nvSpPr>
        <p:spPr>
          <a:xfrm>
            <a:off x="1091056" y="6248196"/>
            <a:ext cx="4114800" cy="213717"/>
          </a:xfrm>
          <a:prstGeom prst="rect">
            <a:avLst/>
          </a:prstGeom>
        </p:spPr>
        <p:txBody>
          <a:bodyPr/>
          <a:lstStyle/>
          <a:p>
            <a:endParaRPr lang="en-GB" sz="800"/>
          </a:p>
        </p:txBody>
      </p:sp>
    </p:spTree>
    <p:extLst>
      <p:ext uri="{BB962C8B-B14F-4D97-AF65-F5344CB8AC3E}">
        <p14:creationId xmlns:p14="http://schemas.microsoft.com/office/powerpoint/2010/main" val="3798047828"/>
      </p:ext>
    </p:extLst>
  </p:cSld>
  <p:clrMapOvr>
    <a:masterClrMapping/>
  </p:clrMapOvr>
  <p:extLst>
    <p:ext uri="{DCECCB84-F9BA-43D5-87BE-67443E8EF086}">
      <p15:sldGuideLst xmlns:p15="http://schemas.microsoft.com/office/powerpoint/2012/main">
        <p15:guide id="1" orient="horz" pos="2460">
          <p15:clr>
            <a:srgbClr val="FBAE40"/>
          </p15:clr>
        </p15:guide>
        <p15:guide id="2" pos="2760">
          <p15:clr>
            <a:srgbClr val="FBAE40"/>
          </p15:clr>
        </p15:guide>
        <p15:guide id="3" pos="300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Cover slide (3 images)">
    <p:spTree>
      <p:nvGrpSpPr>
        <p:cNvPr id="1" name=""/>
        <p:cNvGrpSpPr/>
        <p:nvPr/>
      </p:nvGrpSpPr>
      <p:grpSpPr>
        <a:xfrm>
          <a:off x="0" y="0"/>
          <a:ext cx="0" cy="0"/>
          <a:chOff x="0" y="0"/>
          <a:chExt cx="0" cy="0"/>
        </a:xfrm>
      </p:grpSpPr>
      <p:sp>
        <p:nvSpPr>
          <p:cNvPr id="6" name="Right Triangle 5"/>
          <p:cNvSpPr>
            <a:spLocks noChangeAspect="1"/>
          </p:cNvSpPr>
          <p:nvPr userDrawn="1"/>
        </p:nvSpPr>
        <p:spPr>
          <a:xfrm flipH="1">
            <a:off x="5183899" y="0"/>
            <a:ext cx="7008101" cy="685800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title" hasCustomPrompt="1"/>
          </p:nvPr>
        </p:nvSpPr>
        <p:spPr>
          <a:xfrm>
            <a:off x="431371" y="1689600"/>
            <a:ext cx="4896280" cy="1824203"/>
          </a:xfrm>
        </p:spPr>
        <p:txBody>
          <a:bodyPr anchor="b">
            <a:noAutofit/>
          </a:bodyPr>
          <a:lstStyle>
            <a:lvl1pPr>
              <a:defRPr sz="3733" baseline="0">
                <a:solidFill>
                  <a:schemeClr val="accent2"/>
                </a:solidFill>
              </a:defRPr>
            </a:lvl1pPr>
          </a:lstStyle>
          <a:p>
            <a:r>
              <a:rPr lang="en-US"/>
              <a:t>Click to edit presentation title</a:t>
            </a:r>
            <a:endParaRPr lang="en-GB"/>
          </a:p>
        </p:txBody>
      </p:sp>
      <p:sp>
        <p:nvSpPr>
          <p:cNvPr id="3" name="Date Placeholder 2"/>
          <p:cNvSpPr>
            <a:spLocks noGrp="1"/>
          </p:cNvSpPr>
          <p:nvPr>
            <p:ph type="dt" sz="half" idx="10"/>
          </p:nvPr>
        </p:nvSpPr>
        <p:spPr/>
        <p:txBody>
          <a:bodyPr/>
          <a:lstStyle>
            <a:lvl1pPr>
              <a:defRPr>
                <a:solidFill>
                  <a:schemeClr val="bg1"/>
                </a:solidFill>
              </a:defRPr>
            </a:lvl1pPr>
          </a:lstStyle>
          <a:p>
            <a:endParaRPr lang="en-GB"/>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a:p>
        </p:txBody>
      </p:sp>
      <p:sp>
        <p:nvSpPr>
          <p:cNvPr id="7" name="Oval 6" hidden="1"/>
          <p:cNvSpPr/>
          <p:nvPr userDrawn="1"/>
        </p:nvSpPr>
        <p:spPr>
          <a:xfrm>
            <a:off x="6263456" y="1700808"/>
            <a:ext cx="4105019" cy="41050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a:p>
        </p:txBody>
      </p:sp>
      <p:sp>
        <p:nvSpPr>
          <p:cNvPr id="9" name="Picture Placeholder 8"/>
          <p:cNvSpPr>
            <a:spLocks noGrp="1" noChangeAspect="1"/>
          </p:cNvSpPr>
          <p:nvPr>
            <p:ph type="pic" sz="quarter" idx="13"/>
          </p:nvPr>
        </p:nvSpPr>
        <p:spPr>
          <a:xfrm>
            <a:off x="6263437" y="1700808"/>
            <a:ext cx="4105209" cy="4105209"/>
          </a:xfrm>
          <a:prstGeom prst="pie">
            <a:avLst>
              <a:gd name="adj1" fmla="val 8070460"/>
              <a:gd name="adj2" fmla="val 18987973"/>
            </a:avLst>
          </a:prstGeom>
        </p:spPr>
        <p:txBody>
          <a:bodyPr anchor="ctr">
            <a:normAutofit/>
          </a:bodyPr>
          <a:lstStyle>
            <a:lvl1pPr>
              <a:defRPr sz="1333" b="0">
                <a:solidFill>
                  <a:schemeClr val="accent4"/>
                </a:solidFill>
              </a:defRPr>
            </a:lvl1pPr>
          </a:lstStyle>
          <a:p>
            <a:r>
              <a:rPr lang="en-US"/>
              <a:t>Click icon to add picture</a:t>
            </a:r>
            <a:endParaRPr lang="en-GB"/>
          </a:p>
        </p:txBody>
      </p:sp>
      <p:sp>
        <p:nvSpPr>
          <p:cNvPr id="10" name="Picture Placeholder 8"/>
          <p:cNvSpPr>
            <a:spLocks noGrp="1" noChangeAspect="1"/>
          </p:cNvSpPr>
          <p:nvPr>
            <p:ph type="pic" sz="quarter" idx="14"/>
          </p:nvPr>
        </p:nvSpPr>
        <p:spPr>
          <a:xfrm>
            <a:off x="6263437" y="1700808"/>
            <a:ext cx="4105209" cy="4105209"/>
          </a:xfrm>
          <a:prstGeom prst="pie">
            <a:avLst>
              <a:gd name="adj1" fmla="val 2675656"/>
              <a:gd name="adj2" fmla="val 8096857"/>
            </a:avLst>
          </a:prstGeom>
        </p:spPr>
        <p:txBody>
          <a:bodyPr anchor="ctr">
            <a:normAutofit/>
          </a:bodyPr>
          <a:lstStyle>
            <a:lvl1pPr>
              <a:defRPr sz="1333" b="0">
                <a:solidFill>
                  <a:schemeClr val="accent4"/>
                </a:solidFill>
              </a:defRPr>
            </a:lvl1pPr>
          </a:lstStyle>
          <a:p>
            <a:r>
              <a:rPr lang="en-US"/>
              <a:t>Click icon to add picture</a:t>
            </a:r>
            <a:endParaRPr lang="en-GB"/>
          </a:p>
        </p:txBody>
      </p:sp>
      <p:cxnSp>
        <p:nvCxnSpPr>
          <p:cNvPr id="12" name="Straight Connector 11" hidden="1"/>
          <p:cNvCxnSpPr/>
          <p:nvPr userDrawn="1"/>
        </p:nvCxnSpPr>
        <p:spPr>
          <a:xfrm flipH="1">
            <a:off x="6576054" y="1604797"/>
            <a:ext cx="3936437" cy="3888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hidden="1"/>
          <p:cNvCxnSpPr/>
          <p:nvPr userDrawn="1"/>
        </p:nvCxnSpPr>
        <p:spPr>
          <a:xfrm>
            <a:off x="6576054" y="1604797"/>
            <a:ext cx="3936437" cy="3888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tangle 17"/>
          <p:cNvSpPr/>
          <p:nvPr userDrawn="1"/>
        </p:nvSpPr>
        <p:spPr>
          <a:xfrm>
            <a:off x="287355" y="5973283"/>
            <a:ext cx="768085" cy="535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6" name="Picture Placeholder 8"/>
          <p:cNvSpPr>
            <a:spLocks noGrp="1" noChangeAspect="1"/>
          </p:cNvSpPr>
          <p:nvPr>
            <p:ph type="pic" sz="quarter" idx="15"/>
          </p:nvPr>
        </p:nvSpPr>
        <p:spPr>
          <a:xfrm>
            <a:off x="6263437" y="1700808"/>
            <a:ext cx="4105209" cy="4105209"/>
          </a:xfrm>
          <a:prstGeom prst="pie">
            <a:avLst>
              <a:gd name="adj1" fmla="val 18979183"/>
              <a:gd name="adj2" fmla="val 2698856"/>
            </a:avLst>
          </a:prstGeom>
        </p:spPr>
        <p:txBody>
          <a:bodyPr anchor="ctr">
            <a:normAutofit/>
          </a:bodyPr>
          <a:lstStyle>
            <a:lvl1pPr>
              <a:defRPr sz="1333" b="0">
                <a:solidFill>
                  <a:schemeClr val="accent4"/>
                </a:solidFill>
              </a:defRPr>
            </a:lvl1pPr>
          </a:lstStyle>
          <a:p>
            <a:r>
              <a:rPr lang="en-US"/>
              <a:t>Click icon to add picture</a:t>
            </a:r>
            <a:endParaRPr lang="en-GB"/>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31372" y="668347"/>
            <a:ext cx="911857" cy="55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oter Placeholder 3"/>
          <p:cNvSpPr>
            <a:spLocks noGrp="1"/>
          </p:cNvSpPr>
          <p:nvPr>
            <p:ph type="ftr" sz="quarter" idx="11"/>
          </p:nvPr>
        </p:nvSpPr>
        <p:spPr>
          <a:xfrm>
            <a:off x="431371" y="6261315"/>
            <a:ext cx="4896280" cy="149101"/>
          </a:xfrm>
        </p:spPr>
        <p:txBody>
          <a:bodyPr lIns="0"/>
          <a:lstStyle/>
          <a:p>
            <a:endParaRPr lang="en-GB"/>
          </a:p>
        </p:txBody>
      </p:sp>
      <p:pic>
        <p:nvPicPr>
          <p:cNvPr id="11" name="Picture 10">
            <a:extLst>
              <a:ext uri="{FF2B5EF4-FFF2-40B4-BE49-F238E27FC236}">
                <a16:creationId xmlns:a16="http://schemas.microsoft.com/office/drawing/2014/main" id="{FFE2111E-9BB9-4974-9D21-F45E250F662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298" y="5114120"/>
            <a:ext cx="2208319" cy="1195200"/>
          </a:xfrm>
          <a:prstGeom prst="rect">
            <a:avLst/>
          </a:prstGeom>
        </p:spPr>
      </p:pic>
      <p:sp>
        <p:nvSpPr>
          <p:cNvPr id="20" name="Text Placeholder 19"/>
          <p:cNvSpPr>
            <a:spLocks noGrp="1"/>
          </p:cNvSpPr>
          <p:nvPr>
            <p:ph type="body" sz="quarter" idx="16" hasCustomPrompt="1"/>
          </p:nvPr>
        </p:nvSpPr>
        <p:spPr>
          <a:xfrm>
            <a:off x="431372" y="3717033"/>
            <a:ext cx="4896185" cy="912119"/>
          </a:xfrm>
        </p:spPr>
        <p:txBody>
          <a:bodyPr/>
          <a:lstStyle>
            <a:lvl1pPr>
              <a:defRPr sz="2133" b="0">
                <a:solidFill>
                  <a:schemeClr val="accent4"/>
                </a:solidFill>
              </a:defRPr>
            </a:lvl1pPr>
          </a:lstStyle>
          <a:p>
            <a:pPr lvl="0"/>
            <a:r>
              <a:rPr lang="en-US"/>
              <a:t>Add subtitle here</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08004881"/>
      </p:ext>
    </p:extLst>
  </p:cSld>
  <p:clrMapOvr>
    <a:masterClrMapping/>
  </p:clrMapOvr>
  <p:transition>
    <p:fade thruBlk="1"/>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2_BSI Title and Content - R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
        <p:nvSpPr>
          <p:cNvPr id="3" name="Content Placeholder 2"/>
          <p:cNvSpPr>
            <a:spLocks noGrp="1"/>
          </p:cNvSpPr>
          <p:nvPr>
            <p:ph idx="1"/>
          </p:nvPr>
        </p:nvSpPr>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p:cNvSpPr>
            <a:spLocks noGrp="1"/>
          </p:cNvSpPr>
          <p:nvPr>
            <p:ph type="sldNum" sz="quarter" idx="12"/>
          </p:nvPr>
        </p:nvSpPr>
        <p:spPr/>
        <p:txBody>
          <a:bodyPr/>
          <a:lstStyle/>
          <a:p>
            <a:fld id="{22BD14A0-459B-CA46-A763-3163F186A6C2}" type="slidenum">
              <a:rPr lang="en-US" smtClean="0"/>
              <a:t>‹#›</a:t>
            </a:fld>
            <a:endParaRPr lang="en-US"/>
          </a:p>
        </p:txBody>
      </p:sp>
    </p:spTree>
    <p:extLst>
      <p:ext uri="{BB962C8B-B14F-4D97-AF65-F5344CB8AC3E}">
        <p14:creationId xmlns:p14="http://schemas.microsoft.com/office/powerpoint/2010/main" val="12353931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3_BSI Title and Content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GB"/>
              <a:t>Click to edit Master title style</a:t>
            </a:r>
            <a:endParaRPr lang="en-US"/>
          </a:p>
        </p:txBody>
      </p:sp>
      <p:sp>
        <p:nvSpPr>
          <p:cNvPr id="3" name="Content Placeholder 2"/>
          <p:cNvSpPr>
            <a:spLocks noGrp="1"/>
          </p:cNvSpPr>
          <p:nvPr>
            <p:ph idx="1"/>
          </p:nvPr>
        </p:nvSpPr>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p:cNvSpPr>
            <a:spLocks noGrp="1"/>
          </p:cNvSpPr>
          <p:nvPr>
            <p:ph type="sldNum" sz="quarter" idx="12"/>
          </p:nvPr>
        </p:nvSpPr>
        <p:spPr/>
        <p:txBody>
          <a:bodyPr/>
          <a:lstStyle/>
          <a:p>
            <a:fld id="{22BD14A0-459B-CA46-A763-3163F186A6C2}" type="slidenum">
              <a:rPr lang="en-US" smtClean="0"/>
              <a:t>‹#›</a:t>
            </a:fld>
            <a:endParaRPr lang="en-US"/>
          </a:p>
        </p:txBody>
      </p:sp>
    </p:spTree>
    <p:extLst>
      <p:ext uri="{BB962C8B-B14F-4D97-AF65-F5344CB8AC3E}">
        <p14:creationId xmlns:p14="http://schemas.microsoft.com/office/powerpoint/2010/main" val="16006140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SI Section Header">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F9424D8D-7DD5-8043-9DED-6C499A8AF533}"/>
              </a:ext>
            </a:extLst>
          </p:cNvPr>
          <p:cNvSpPr>
            <a:spLocks noGrp="1"/>
          </p:cNvSpPr>
          <p:nvPr>
            <p:ph type="pic" sz="quarter" idx="13" hasCustomPrompt="1"/>
          </p:nvPr>
        </p:nvSpPr>
        <p:spPr>
          <a:xfrm>
            <a:off x="0" y="-2"/>
            <a:ext cx="12192000" cy="6066000"/>
          </a:xfrm>
        </p:spPr>
        <p:txBody>
          <a:bodyPr anchor="ctr" anchorCtr="0">
            <a:normAutofit/>
          </a:bodyPr>
          <a:lstStyle>
            <a:lvl1pPr marL="0" indent="0" algn="ctr">
              <a:buNone/>
              <a:defRPr sz="1400" baseline="0"/>
            </a:lvl1pPr>
          </a:lstStyle>
          <a:p>
            <a:r>
              <a:rPr lang="en-US"/>
              <a:t>Click icon to add background image</a:t>
            </a:r>
          </a:p>
        </p:txBody>
      </p:sp>
      <p:sp>
        <p:nvSpPr>
          <p:cNvPr id="2" name="Title 1"/>
          <p:cNvSpPr>
            <a:spLocks noGrp="1"/>
          </p:cNvSpPr>
          <p:nvPr>
            <p:ph type="title"/>
          </p:nvPr>
        </p:nvSpPr>
        <p:spPr>
          <a:xfrm>
            <a:off x="358513" y="359998"/>
            <a:ext cx="10800000" cy="1440000"/>
          </a:xfrm>
        </p:spPr>
        <p:txBody>
          <a:bodyPr anchor="t" anchorCtr="0">
            <a:normAutofit/>
          </a:bodyPr>
          <a:lstStyle>
            <a:lvl1pPr>
              <a:defRPr sz="5500" baseline="0"/>
            </a:lvl1pPr>
          </a:lstStyle>
          <a:p>
            <a:r>
              <a:rPr lang="en-GB"/>
              <a:t>Click to edit Master title style</a:t>
            </a:r>
            <a:endParaRPr lang="en-US"/>
          </a:p>
        </p:txBody>
      </p:sp>
      <p:sp>
        <p:nvSpPr>
          <p:cNvPr id="3" name="Text Placeholder 2"/>
          <p:cNvSpPr>
            <a:spLocks noGrp="1"/>
          </p:cNvSpPr>
          <p:nvPr>
            <p:ph type="body" idx="1"/>
          </p:nvPr>
        </p:nvSpPr>
        <p:spPr>
          <a:xfrm>
            <a:off x="358513" y="1980000"/>
            <a:ext cx="10800000" cy="360000"/>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6" name="Slide Number Placeholder 5"/>
          <p:cNvSpPr>
            <a:spLocks noGrp="1"/>
          </p:cNvSpPr>
          <p:nvPr>
            <p:ph type="sldNum" sz="quarter" idx="12"/>
          </p:nvPr>
        </p:nvSpPr>
        <p:spPr/>
        <p:txBody>
          <a:bodyPr/>
          <a:lstStyle/>
          <a:p>
            <a:fld id="{22BD14A0-459B-CA46-A763-3163F186A6C2}" type="slidenum">
              <a:rPr lang="en-US" smtClean="0"/>
              <a:t>‹#›</a:t>
            </a:fld>
            <a:endParaRPr lang="en-US"/>
          </a:p>
        </p:txBody>
      </p:sp>
    </p:spTree>
    <p:extLst>
      <p:ext uri="{BB962C8B-B14F-4D97-AF65-F5344CB8AC3E}">
        <p14:creationId xmlns:p14="http://schemas.microsoft.com/office/powerpoint/2010/main" val="24315535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BSI Two Column ">
    <p:spTree>
      <p:nvGrpSpPr>
        <p:cNvPr id="1" name=""/>
        <p:cNvGrpSpPr/>
        <p:nvPr/>
      </p:nvGrpSpPr>
      <p:grpSpPr>
        <a:xfrm>
          <a:off x="0" y="0"/>
          <a:ext cx="0" cy="0"/>
          <a:chOff x="0" y="0"/>
          <a:chExt cx="0" cy="0"/>
        </a:xfrm>
      </p:grpSpPr>
      <p:sp>
        <p:nvSpPr>
          <p:cNvPr id="2" name="Title 1"/>
          <p:cNvSpPr>
            <a:spLocks noGrp="1"/>
          </p:cNvSpPr>
          <p:nvPr>
            <p:ph type="title"/>
          </p:nvPr>
        </p:nvSpPr>
        <p:spPr>
          <a:xfrm>
            <a:off x="359999" y="360000"/>
            <a:ext cx="11512694" cy="1332000"/>
          </a:xfrm>
        </p:spPr>
        <p:txBody>
          <a:bodyPr/>
          <a:lstStyle/>
          <a:p>
            <a:r>
              <a:rPr lang="en-GB"/>
              <a:t>Click to edit Master title style</a:t>
            </a:r>
            <a:endParaRPr lang="en-US"/>
          </a:p>
        </p:txBody>
      </p:sp>
      <p:sp>
        <p:nvSpPr>
          <p:cNvPr id="3" name="Content Placeholder 2"/>
          <p:cNvSpPr>
            <a:spLocks noGrp="1"/>
          </p:cNvSpPr>
          <p:nvPr>
            <p:ph sz="half" idx="1"/>
          </p:nvPr>
        </p:nvSpPr>
        <p:spPr>
          <a:xfrm>
            <a:off x="360000" y="1800000"/>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691093" y="1800000"/>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6"/>
          <p:cNvSpPr>
            <a:spLocks noGrp="1"/>
          </p:cNvSpPr>
          <p:nvPr>
            <p:ph type="sldNum" sz="quarter" idx="12"/>
          </p:nvPr>
        </p:nvSpPr>
        <p:spPr/>
        <p:txBody>
          <a:bodyPr/>
          <a:lstStyle/>
          <a:p>
            <a:fld id="{22BD14A0-459B-CA46-A763-3163F186A6C2}" type="slidenum">
              <a:rPr lang="en-US" smtClean="0"/>
              <a:t>‹#›</a:t>
            </a:fld>
            <a:endParaRPr lang="en-US"/>
          </a:p>
        </p:txBody>
      </p:sp>
    </p:spTree>
    <p:extLst>
      <p:ext uri="{BB962C8B-B14F-4D97-AF65-F5344CB8AC3E}">
        <p14:creationId xmlns:p14="http://schemas.microsoft.com/office/powerpoint/2010/main" val="31605009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Obj" preserve="1">
  <p:cSld name="1_BSI Two Column - Red circle">
    <p:spTree>
      <p:nvGrpSpPr>
        <p:cNvPr id="1" name=""/>
        <p:cNvGrpSpPr/>
        <p:nvPr/>
      </p:nvGrpSpPr>
      <p:grpSpPr>
        <a:xfrm>
          <a:off x="0" y="0"/>
          <a:ext cx="0" cy="0"/>
          <a:chOff x="0" y="0"/>
          <a:chExt cx="0" cy="0"/>
        </a:xfrm>
      </p:grpSpPr>
      <p:sp>
        <p:nvSpPr>
          <p:cNvPr id="11" name="Chord 10">
            <a:extLst>
              <a:ext uri="{FF2B5EF4-FFF2-40B4-BE49-F238E27FC236}">
                <a16:creationId xmlns:a16="http://schemas.microsoft.com/office/drawing/2014/main" id="{FC6FF6CC-29CC-7241-BD32-06AAED0B5880}"/>
              </a:ext>
            </a:extLst>
          </p:cNvPr>
          <p:cNvSpPr/>
          <p:nvPr userDrawn="1"/>
        </p:nvSpPr>
        <p:spPr>
          <a:xfrm rot="6747926">
            <a:off x="5816396" y="-2309699"/>
            <a:ext cx="12112593" cy="12112593"/>
          </a:xfrm>
          <a:prstGeom prst="chord">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59999" y="360000"/>
            <a:ext cx="11512694" cy="1332000"/>
          </a:xfrm>
        </p:spPr>
        <p:txBody>
          <a:bodyPr/>
          <a:lstStyle/>
          <a:p>
            <a:r>
              <a:rPr lang="en-GB"/>
              <a:t>Click to edit Master title style</a:t>
            </a:r>
            <a:endParaRPr lang="en-US"/>
          </a:p>
        </p:txBody>
      </p:sp>
      <p:sp>
        <p:nvSpPr>
          <p:cNvPr id="7" name="Slide Number Placeholder 6"/>
          <p:cNvSpPr>
            <a:spLocks noGrp="1"/>
          </p:cNvSpPr>
          <p:nvPr>
            <p:ph type="sldNum" sz="quarter" idx="12"/>
          </p:nvPr>
        </p:nvSpPr>
        <p:spPr/>
        <p:txBody>
          <a:bodyPr/>
          <a:lstStyle/>
          <a:p>
            <a:fld id="{22BD14A0-459B-CA46-A763-3163F186A6C2}" type="slidenum">
              <a:rPr lang="en-US" smtClean="0"/>
              <a:t>‹#›</a:t>
            </a:fld>
            <a:endParaRPr lang="en-US"/>
          </a:p>
        </p:txBody>
      </p:sp>
      <p:sp>
        <p:nvSpPr>
          <p:cNvPr id="3" name="Content Placeholder 2"/>
          <p:cNvSpPr>
            <a:spLocks noGrp="1"/>
          </p:cNvSpPr>
          <p:nvPr>
            <p:ph sz="half" idx="1"/>
          </p:nvPr>
        </p:nvSpPr>
        <p:spPr>
          <a:xfrm>
            <a:off x="360000" y="1800000"/>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691093" y="1800000"/>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6186132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6.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0E6F57D-EF5E-4A4E-A22D-EE6942A039AF}"/>
              </a:ext>
            </a:extLst>
          </p:cNvPr>
          <p:cNvSpPr/>
          <p:nvPr userDrawn="1"/>
        </p:nvSpPr>
        <p:spPr>
          <a:xfrm>
            <a:off x="0" y="6066000"/>
            <a:ext cx="12192000" cy="792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AE2EDAE2-6440-AD43-BC40-487C4316D91C}"/>
              </a:ext>
            </a:extLst>
          </p:cNvPr>
          <p:cNvSpPr/>
          <p:nvPr userDrawn="1"/>
        </p:nvSpPr>
        <p:spPr>
          <a:xfrm>
            <a:off x="11592560" y="6260370"/>
            <a:ext cx="250854" cy="2508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picture containing drawing&#10;&#10;Description automatically generated">
            <a:extLst>
              <a:ext uri="{FF2B5EF4-FFF2-40B4-BE49-F238E27FC236}">
                <a16:creationId xmlns:a16="http://schemas.microsoft.com/office/drawing/2014/main" id="{6BFCB167-D793-FA4A-97ED-D7DBB92C7FF5}"/>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360000" y="6244884"/>
            <a:ext cx="650358" cy="433572"/>
          </a:xfrm>
          <a:prstGeom prst="rect">
            <a:avLst/>
          </a:prstGeom>
        </p:spPr>
      </p:pic>
      <p:sp>
        <p:nvSpPr>
          <p:cNvPr id="7" name="TextBox 6">
            <a:extLst>
              <a:ext uri="{FF2B5EF4-FFF2-40B4-BE49-F238E27FC236}">
                <a16:creationId xmlns:a16="http://schemas.microsoft.com/office/drawing/2014/main" id="{360DE597-2F38-5A49-8C69-4384109AE6E6}"/>
              </a:ext>
            </a:extLst>
          </p:cNvPr>
          <p:cNvSpPr txBox="1"/>
          <p:nvPr userDrawn="1"/>
        </p:nvSpPr>
        <p:spPr>
          <a:xfrm>
            <a:off x="10431252" y="6625495"/>
            <a:ext cx="1462049" cy="184666"/>
          </a:xfrm>
          <a:prstGeom prst="rect">
            <a:avLst/>
          </a:prstGeom>
          <a:noFill/>
        </p:spPr>
        <p:txBody>
          <a:bodyPr wrap="square" lIns="0" tIns="0" rIns="0" bIns="0" rtlCol="0">
            <a:spAutoFit/>
          </a:bodyPr>
          <a:lstStyle/>
          <a:p>
            <a:r>
              <a:rPr lang="en-US" sz="600" dirty="0">
                <a:latin typeface="Tahoma" panose="020B0604030504040204" pitchFamily="34" charset="0"/>
                <a:ea typeface="Tahoma" panose="020B0604030504040204" pitchFamily="34" charset="0"/>
                <a:cs typeface="Tahoma" panose="020B0604030504040204" pitchFamily="34" charset="0"/>
              </a:rPr>
              <a:t>Copyright © 2022 BSI. All rights reserved</a:t>
            </a:r>
          </a:p>
          <a:p>
            <a:endParaRPr lang="en-US" sz="600" dirty="0">
              <a:latin typeface="Tahoma" panose="020B0604030504040204" pitchFamily="34" charset="0"/>
              <a:ea typeface="Tahoma" panose="020B0604030504040204" pitchFamily="34" charset="0"/>
              <a:cs typeface="Tahoma" panose="020B0604030504040204" pitchFamily="34" charset="0"/>
            </a:endParaRPr>
          </a:p>
        </p:txBody>
      </p:sp>
      <p:sp>
        <p:nvSpPr>
          <p:cNvPr id="6" name="Slide Number Placeholder 5"/>
          <p:cNvSpPr>
            <a:spLocks noGrp="1"/>
          </p:cNvSpPr>
          <p:nvPr userDrawn="1">
            <p:ph type="sldNum" sz="quarter" idx="4"/>
          </p:nvPr>
        </p:nvSpPr>
        <p:spPr>
          <a:xfrm>
            <a:off x="11565801" y="6197284"/>
            <a:ext cx="306892" cy="380372"/>
          </a:xfrm>
          <a:prstGeom prst="rect">
            <a:avLst/>
          </a:prstGeom>
        </p:spPr>
        <p:txBody>
          <a:bodyPr vert="horz" lIns="0" tIns="0" rIns="0" bIns="0" rtlCol="0" anchor="ctr"/>
          <a:lstStyle>
            <a:lvl1pPr algn="ctr">
              <a:defRPr sz="1000" baseline="0">
                <a:solidFill>
                  <a:schemeClr val="tx1">
                    <a:lumMod val="50000"/>
                    <a:lumOff val="50000"/>
                  </a:schemeClr>
                </a:solidFill>
              </a:defRPr>
            </a:lvl1pPr>
          </a:lstStyle>
          <a:p>
            <a:fld id="{22BD14A0-459B-CA46-A763-3163F186A6C2}" type="slidenum">
              <a:rPr lang="en-US" smtClean="0"/>
              <a:pPr/>
              <a:t>‹#›</a:t>
            </a:fld>
            <a:endParaRPr lang="en-US"/>
          </a:p>
        </p:txBody>
      </p:sp>
      <p:sp>
        <p:nvSpPr>
          <p:cNvPr id="2" name="Title Placeholder 1"/>
          <p:cNvSpPr>
            <a:spLocks noGrp="1"/>
          </p:cNvSpPr>
          <p:nvPr userDrawn="1">
            <p:ph type="title"/>
          </p:nvPr>
        </p:nvSpPr>
        <p:spPr>
          <a:xfrm>
            <a:off x="360000" y="360000"/>
            <a:ext cx="10800000" cy="1332000"/>
          </a:xfrm>
          <a:prstGeom prst="rect">
            <a:avLst/>
          </a:prstGeom>
        </p:spPr>
        <p:txBody>
          <a:bodyPr vert="horz" lIns="0" tIns="0" rIns="0" bIns="0" rtlCol="0" anchor="t" anchorCtr="0">
            <a:normAutofit/>
          </a:bodyPr>
          <a:lstStyle/>
          <a:p>
            <a:r>
              <a:rPr lang="en-GB"/>
              <a:t>Click to edit Master title</a:t>
            </a:r>
            <a:endParaRPr lang="en-US"/>
          </a:p>
        </p:txBody>
      </p:sp>
      <p:sp>
        <p:nvSpPr>
          <p:cNvPr id="3" name="Text Placeholder 2"/>
          <p:cNvSpPr>
            <a:spLocks noGrp="1"/>
          </p:cNvSpPr>
          <p:nvPr userDrawn="1">
            <p:ph type="body" idx="1"/>
          </p:nvPr>
        </p:nvSpPr>
        <p:spPr>
          <a:xfrm>
            <a:off x="360000" y="1800000"/>
            <a:ext cx="10800000" cy="41400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0" name="Picture 9">
            <a:extLst>
              <a:ext uri="{FF2B5EF4-FFF2-40B4-BE49-F238E27FC236}">
                <a16:creationId xmlns:a16="http://schemas.microsoft.com/office/drawing/2014/main" id="{5C888849-8ECB-4A4E-9098-ADD8C27F0BEA}"/>
              </a:ext>
            </a:extLst>
          </p:cNvPr>
          <p:cNvPicPr/>
          <p:nvPr userDrawn="1"/>
        </p:nvPicPr>
        <p:blipFill>
          <a:blip r:embed="rId27" cstate="screen">
            <a:extLst>
              <a:ext uri="{28A0092B-C50C-407E-A947-70E740481C1C}">
                <a14:useLocalDpi xmlns:a14="http://schemas.microsoft.com/office/drawing/2010/main"/>
              </a:ext>
            </a:extLst>
          </a:blip>
          <a:srcRect/>
          <a:stretch>
            <a:fillRect/>
          </a:stretch>
        </p:blipFill>
        <p:spPr bwMode="auto">
          <a:xfrm>
            <a:off x="1261056" y="6197284"/>
            <a:ext cx="1547628" cy="472236"/>
          </a:xfrm>
          <a:prstGeom prst="rect">
            <a:avLst/>
          </a:prstGeom>
          <a:noFill/>
        </p:spPr>
      </p:pic>
      <p:pic>
        <p:nvPicPr>
          <p:cNvPr id="11" name="Picture 10">
            <a:extLst>
              <a:ext uri="{FF2B5EF4-FFF2-40B4-BE49-F238E27FC236}">
                <a16:creationId xmlns:a16="http://schemas.microsoft.com/office/drawing/2014/main" id="{A34F7916-D2E2-4AF0-8D51-E2E009CAF17D}"/>
              </a:ext>
            </a:extLst>
          </p:cNvPr>
          <p:cNvPicPr>
            <a:picLocks noChangeAspect="1"/>
          </p:cNvPicPr>
          <p:nvPr userDrawn="1"/>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2808684" y="5957442"/>
            <a:ext cx="843886" cy="856710"/>
          </a:xfrm>
          <a:prstGeom prst="rect">
            <a:avLst/>
          </a:prstGeom>
          <a:noFill/>
          <a:ln w="9525">
            <a:noFill/>
            <a:miter lim="800000"/>
            <a:headEnd/>
            <a:tailEnd/>
          </a:ln>
        </p:spPr>
      </p:pic>
    </p:spTree>
    <p:extLst>
      <p:ext uri="{BB962C8B-B14F-4D97-AF65-F5344CB8AC3E}">
        <p14:creationId xmlns:p14="http://schemas.microsoft.com/office/powerpoint/2010/main" val="42051605"/>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90" r:id="rId3"/>
    <p:sldLayoutId id="2147483978" r:id="rId4"/>
    <p:sldLayoutId id="2147483979" r:id="rId5"/>
    <p:sldLayoutId id="2147483980" r:id="rId6"/>
    <p:sldLayoutId id="2147483969" r:id="rId7"/>
    <p:sldLayoutId id="2147483970" r:id="rId8"/>
    <p:sldLayoutId id="2147483981" r:id="rId9"/>
    <p:sldLayoutId id="2147483985" r:id="rId10"/>
    <p:sldLayoutId id="2147483984" r:id="rId11"/>
    <p:sldLayoutId id="2147483982" r:id="rId12"/>
    <p:sldLayoutId id="2147483988" r:id="rId13"/>
    <p:sldLayoutId id="2147483986" r:id="rId14"/>
    <p:sldLayoutId id="2147483983" r:id="rId15"/>
    <p:sldLayoutId id="2147483989" r:id="rId16"/>
    <p:sldLayoutId id="2147483987" r:id="rId17"/>
    <p:sldLayoutId id="2147483971" r:id="rId18"/>
    <p:sldLayoutId id="2147483972" r:id="rId19"/>
    <p:sldLayoutId id="2147483973" r:id="rId20"/>
    <p:sldLayoutId id="2147483974" r:id="rId21"/>
    <p:sldLayoutId id="2147483975" r:id="rId22"/>
    <p:sldLayoutId id="2147483976" r:id="rId23"/>
    <p:sldLayoutId id="2147483977" r:id="rId24"/>
  </p:sldLayoutIdLst>
  <p:hf hdr="0" ftr="0" dt="0"/>
  <p:txStyles>
    <p:titleStyle>
      <a:lvl1pPr algn="l" defTabSz="914400" rtl="0" eaLnBrk="1" latinLnBrk="0" hangingPunct="1">
        <a:lnSpc>
          <a:spcPct val="90000"/>
        </a:lnSpc>
        <a:spcBef>
          <a:spcPct val="0"/>
        </a:spcBef>
        <a:buNone/>
        <a:defRPr sz="3600" kern="1200"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371" y="212643"/>
            <a:ext cx="11318400" cy="555363"/>
          </a:xfrm>
          <a:prstGeom prst="rect">
            <a:avLst/>
          </a:prstGeom>
        </p:spPr>
        <p:txBody>
          <a:bodyPr vert="horz" lIns="0" tIns="0" rIns="0" bIns="0" rtlCol="0" anchor="b">
            <a:normAutofit/>
          </a:bodyPr>
          <a:lstStyle/>
          <a:p>
            <a:r>
              <a:rPr lang="en-US"/>
              <a:t>Click to edit Master title style</a:t>
            </a:r>
            <a:endParaRPr lang="en-GB"/>
          </a:p>
        </p:txBody>
      </p:sp>
      <p:sp>
        <p:nvSpPr>
          <p:cNvPr id="3" name="Text Placeholder 2"/>
          <p:cNvSpPr>
            <a:spLocks noGrp="1"/>
          </p:cNvSpPr>
          <p:nvPr>
            <p:ph type="body" idx="1"/>
          </p:nvPr>
        </p:nvSpPr>
        <p:spPr>
          <a:xfrm>
            <a:off x="431371" y="1365251"/>
            <a:ext cx="11318400" cy="4440767"/>
          </a:xfrm>
          <a:prstGeom prst="rect">
            <a:avLst/>
          </a:prstGeom>
        </p:spPr>
        <p:txBody>
          <a:bodyPr vert="horz" lIns="0" tIns="0" rIns="0" bIns="0" rtlCol="0">
            <a:normAutofit/>
          </a:bodyPr>
          <a:lstStyle/>
          <a:p>
            <a:pPr lvl="0"/>
            <a:r>
              <a:rPr lang="en-US"/>
              <a:t>Click to edit Master text styles</a:t>
            </a:r>
          </a:p>
          <a:p>
            <a:pPr lvl="2"/>
            <a:r>
              <a:rPr lang="en-US"/>
              <a:t>Third level</a:t>
            </a:r>
          </a:p>
          <a:p>
            <a:pPr lvl="3"/>
            <a:r>
              <a:rPr lang="en-US"/>
              <a:t>Fourth level</a:t>
            </a:r>
          </a:p>
        </p:txBody>
      </p:sp>
      <p:sp>
        <p:nvSpPr>
          <p:cNvPr id="4" name="Date Placeholder 3"/>
          <p:cNvSpPr>
            <a:spLocks noGrp="1"/>
          </p:cNvSpPr>
          <p:nvPr>
            <p:ph type="dt" sz="half" idx="2"/>
          </p:nvPr>
        </p:nvSpPr>
        <p:spPr>
          <a:xfrm>
            <a:off x="897600" y="6442283"/>
            <a:ext cx="5198400" cy="203075"/>
          </a:xfrm>
          <a:prstGeom prst="rect">
            <a:avLst/>
          </a:prstGeom>
        </p:spPr>
        <p:txBody>
          <a:bodyPr vert="horz" lIns="91440" tIns="0" rIns="0" bIns="0" rtlCol="0" anchor="ctr"/>
          <a:lstStyle>
            <a:lvl1pPr algn="l">
              <a:defRPr sz="800">
                <a:solidFill>
                  <a:schemeClr val="bg1"/>
                </a:solidFill>
              </a:defRPr>
            </a:lvl1pPr>
          </a:lstStyle>
          <a:p>
            <a:endParaRPr lang="en-GB"/>
          </a:p>
        </p:txBody>
      </p:sp>
      <p:sp>
        <p:nvSpPr>
          <p:cNvPr id="5" name="Footer Placeholder 4"/>
          <p:cNvSpPr>
            <a:spLocks noGrp="1"/>
          </p:cNvSpPr>
          <p:nvPr>
            <p:ph type="ftr" sz="quarter" idx="3"/>
          </p:nvPr>
        </p:nvSpPr>
        <p:spPr>
          <a:xfrm>
            <a:off x="897600" y="6261315"/>
            <a:ext cx="5198400" cy="149101"/>
          </a:xfrm>
          <a:prstGeom prst="rect">
            <a:avLst/>
          </a:prstGeom>
        </p:spPr>
        <p:txBody>
          <a:bodyPr vert="horz" lIns="91440" tIns="0" rIns="0" bIns="0" rtlCol="0" anchor="t"/>
          <a:lstStyle>
            <a:lvl1pPr algn="l">
              <a:defRPr sz="800">
                <a:solidFill>
                  <a:schemeClr val="tx1"/>
                </a:solidFill>
              </a:defRPr>
            </a:lvl1pPr>
          </a:lstStyle>
          <a:p>
            <a:endParaRPr lang="en-GB"/>
          </a:p>
        </p:txBody>
      </p:sp>
      <p:pic>
        <p:nvPicPr>
          <p:cNvPr id="7" name="Picture 6"/>
          <p:cNvPicPr>
            <a:picLocks noChangeAspect="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431373" y="6096000"/>
            <a:ext cx="456577" cy="27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7"/>
          <p:cNvSpPr>
            <a:spLocks/>
          </p:cNvSpPr>
          <p:nvPr/>
        </p:nvSpPr>
        <p:spPr>
          <a:xfrm>
            <a:off x="11568651" y="6134400"/>
            <a:ext cx="384000" cy="38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6" name="Slide Number Placeholder 5"/>
          <p:cNvSpPr>
            <a:spLocks noGrp="1"/>
          </p:cNvSpPr>
          <p:nvPr>
            <p:ph type="sldNum" sz="quarter" idx="4"/>
          </p:nvPr>
        </p:nvSpPr>
        <p:spPr>
          <a:xfrm>
            <a:off x="11609739" y="6144000"/>
            <a:ext cx="301824" cy="365125"/>
          </a:xfrm>
          <a:prstGeom prst="rect">
            <a:avLst/>
          </a:prstGeom>
        </p:spPr>
        <p:txBody>
          <a:bodyPr vert="horz" lIns="0" tIns="0" rIns="0" bIns="0" rtlCol="0" anchor="ctr"/>
          <a:lstStyle>
            <a:lvl1pPr algn="ctr">
              <a:defRPr sz="933">
                <a:solidFill>
                  <a:schemeClr val="bg1"/>
                </a:solidFill>
              </a:defRPr>
            </a:lvl1pPr>
          </a:lstStyle>
          <a:p>
            <a:fld id="{C1B07ACB-AE6F-47F7-B02A-AE02D6CD5526}" type="slidenum">
              <a:rPr lang="en-GB" smtClean="0"/>
              <a:pPr/>
              <a:t>‹#›</a:t>
            </a:fld>
            <a:endParaRPr lang="en-GB"/>
          </a:p>
        </p:txBody>
      </p:sp>
    </p:spTree>
    <p:extLst>
      <p:ext uri="{BB962C8B-B14F-4D97-AF65-F5344CB8AC3E}">
        <p14:creationId xmlns:p14="http://schemas.microsoft.com/office/powerpoint/2010/main" val="52531448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Lst>
  <p:hf hdr="0" ftr="0" dt="0"/>
  <p:txStyles>
    <p:titleStyle>
      <a:lvl1pPr algn="l" defTabSz="1219170" rtl="0" eaLnBrk="1" latinLnBrk="0" hangingPunct="1">
        <a:spcBef>
          <a:spcPct val="0"/>
        </a:spcBef>
        <a:buNone/>
        <a:defRPr sz="3200" b="1" kern="1200">
          <a:solidFill>
            <a:schemeClr val="tx1"/>
          </a:solidFill>
          <a:latin typeface="+mj-lt"/>
          <a:ea typeface="+mj-ea"/>
          <a:cs typeface="+mj-cs"/>
        </a:defRPr>
      </a:lvl1pPr>
    </p:titleStyle>
    <p:bodyStyle>
      <a:lvl1pPr marL="0" indent="0" algn="l" defTabSz="1219170" rtl="0" eaLnBrk="1" latinLnBrk="0" hangingPunct="1">
        <a:spcBef>
          <a:spcPts val="533"/>
        </a:spcBef>
        <a:spcAft>
          <a:spcPts val="533"/>
        </a:spcAft>
        <a:buFont typeface="Arial" pitchFamily="34" charset="0"/>
        <a:buNone/>
        <a:defRPr sz="2400" b="0" kern="1200">
          <a:solidFill>
            <a:schemeClr val="tx1"/>
          </a:solidFill>
          <a:latin typeface="+mn-lt"/>
          <a:ea typeface="+mn-ea"/>
          <a:cs typeface="+mn-cs"/>
        </a:defRPr>
      </a:lvl1pPr>
      <a:lvl2pPr marL="0" indent="0" algn="l" defTabSz="1219170" rtl="0" eaLnBrk="1" latinLnBrk="0" hangingPunct="1">
        <a:spcBef>
          <a:spcPts val="533"/>
        </a:spcBef>
        <a:spcAft>
          <a:spcPts val="533"/>
        </a:spcAft>
        <a:buFont typeface="Arial" pitchFamily="34" charset="0"/>
        <a:buNone/>
        <a:defRPr sz="2133" kern="1200">
          <a:solidFill>
            <a:schemeClr val="tx1"/>
          </a:solidFill>
          <a:latin typeface="+mn-lt"/>
          <a:ea typeface="+mn-ea"/>
          <a:cs typeface="+mn-cs"/>
        </a:defRPr>
      </a:lvl2pPr>
      <a:lvl3pPr marL="239178" indent="-239178" algn="l" defTabSz="1219170" rtl="0" eaLnBrk="1" latinLnBrk="0" hangingPunct="1">
        <a:spcBef>
          <a:spcPts val="400"/>
        </a:spcBef>
        <a:spcAft>
          <a:spcPts val="400"/>
        </a:spcAft>
        <a:buClr>
          <a:schemeClr val="tx2"/>
        </a:buClr>
        <a:buFont typeface="Arial" pitchFamily="34" charset="0"/>
        <a:buChar char="•"/>
        <a:defRPr sz="2133" kern="1200">
          <a:solidFill>
            <a:schemeClr val="tx1"/>
          </a:solidFill>
          <a:latin typeface="+mn-lt"/>
          <a:ea typeface="+mn-ea"/>
          <a:cs typeface="+mn-cs"/>
        </a:defRPr>
      </a:lvl3pPr>
      <a:lvl4pPr marL="480472" indent="-241294" algn="l" defTabSz="1219170" rtl="0" eaLnBrk="1" latinLnBrk="0" hangingPunct="1">
        <a:spcBef>
          <a:spcPts val="400"/>
        </a:spcBef>
        <a:spcAft>
          <a:spcPts val="400"/>
        </a:spcAft>
        <a:buClr>
          <a:schemeClr val="accent2"/>
        </a:buClr>
        <a:buFont typeface="Arial" pitchFamily="34" charset="0"/>
        <a:buChar char="•"/>
        <a:defRPr sz="1867" kern="1200">
          <a:solidFill>
            <a:schemeClr val="tx1"/>
          </a:solidFill>
          <a:latin typeface="+mn-lt"/>
          <a:ea typeface="+mn-ea"/>
          <a:cs typeface="+mn-cs"/>
        </a:defRPr>
      </a:lvl4pPr>
      <a:lvl5pPr marL="0" indent="0" algn="l" defTabSz="1219170" rtl="0" eaLnBrk="1" latinLnBrk="0" hangingPunct="1">
        <a:spcBef>
          <a:spcPts val="533"/>
        </a:spcBef>
        <a:spcAft>
          <a:spcPts val="533"/>
        </a:spcAft>
        <a:buFont typeface="Arial" pitchFamily="34" charset="0"/>
        <a:buNone/>
        <a:defRPr sz="1867" kern="1200">
          <a:solidFill>
            <a:schemeClr val="accent2"/>
          </a:solidFill>
          <a:latin typeface="+mn-lt"/>
          <a:ea typeface="+mn-ea"/>
          <a:cs typeface="+mn-cs"/>
        </a:defRPr>
      </a:lvl5pPr>
      <a:lvl6pPr marL="0" indent="0" algn="l" defTabSz="1219170" rtl="0" eaLnBrk="1" latinLnBrk="0" hangingPunct="1">
        <a:spcBef>
          <a:spcPts val="533"/>
        </a:spcBef>
        <a:spcAft>
          <a:spcPts val="533"/>
        </a:spcAft>
        <a:buFont typeface="Arial" pitchFamily="34" charset="0"/>
        <a:buNone/>
        <a:defRPr sz="2400" b="1" kern="1200">
          <a:solidFill>
            <a:schemeClr val="accent2"/>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bg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xml"/><Relationship Id="rId5" Type="http://schemas.openxmlformats.org/officeDocument/2006/relationships/image" Target="../media/image22.emf"/><Relationship Id="rId4" Type="http://schemas.openxmlformats.org/officeDocument/2006/relationships/image" Target="../media/image21.png"/></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4.xml"/><Relationship Id="rId1" Type="http://schemas.openxmlformats.org/officeDocument/2006/relationships/tags" Target="../tags/tag28.xml"/></Relationships>
</file>

<file path=ppt/slides/_rels/slide11.xml.rels><?xml version="1.0" encoding="UTF-8" standalone="yes"?>
<Relationships xmlns="http://schemas.openxmlformats.org/package/2006/relationships"><Relationship Id="rId8" Type="http://schemas.openxmlformats.org/officeDocument/2006/relationships/image" Target="../media/image38.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37.png"/><Relationship Id="rId5" Type="http://schemas.microsoft.com/office/2007/relationships/hdphoto" Target="../media/hdphoto2.wdp"/><Relationship Id="rId4" Type="http://schemas.openxmlformats.org/officeDocument/2006/relationships/image" Target="../media/image36.png"/><Relationship Id="rId9" Type="http://schemas.microsoft.com/office/2007/relationships/hdphoto" Target="../media/hdphoto4.wdp"/></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1.png"/><Relationship Id="rId4" Type="http://schemas.microsoft.com/office/2007/relationships/hdphoto" Target="../media/hdphoto5.wdp"/></Relationships>
</file>

<file path=ppt/slides/_rels/slide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8.xml"/><Relationship Id="rId4" Type="http://schemas.openxmlformats.org/officeDocument/2006/relationships/image" Target="../media/image45.png"/></Relationships>
</file>

<file path=ppt/slides/_rels/slide14.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7.png"/><Relationship Id="rId4" Type="http://schemas.openxmlformats.org/officeDocument/2006/relationships/notesSlide" Target="../notesSlides/notesSlide4.xml"/></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51.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9.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4.xml"/><Relationship Id="rId5" Type="http://schemas.openxmlformats.org/officeDocument/2006/relationships/tags" Target="../tags/tag5.xml"/><Relationship Id="rId4" Type="http://schemas.openxmlformats.org/officeDocument/2006/relationships/tags" Target="../tags/tag4.xml"/></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diagramLayout" Target="../diagrams/layout2.xml"/><Relationship Id="rId7" Type="http://schemas.openxmlformats.org/officeDocument/2006/relationships/image" Target="../media/image56.png"/><Relationship Id="rId12" Type="http://schemas.openxmlformats.org/officeDocument/2006/relationships/image" Target="../media/image61.svg"/><Relationship Id="rId2" Type="http://schemas.openxmlformats.org/officeDocument/2006/relationships/diagramData" Target="../diagrams/data2.xml"/><Relationship Id="rId1" Type="http://schemas.openxmlformats.org/officeDocument/2006/relationships/slideLayout" Target="../slideLayouts/slideLayout19.xml"/><Relationship Id="rId6" Type="http://schemas.microsoft.com/office/2007/relationships/diagramDrawing" Target="../diagrams/drawing2.xml"/><Relationship Id="rId11" Type="http://schemas.openxmlformats.org/officeDocument/2006/relationships/image" Target="../media/image60.png"/><Relationship Id="rId5" Type="http://schemas.openxmlformats.org/officeDocument/2006/relationships/diagramColors" Target="../diagrams/colors2.xml"/><Relationship Id="rId10" Type="http://schemas.openxmlformats.org/officeDocument/2006/relationships/image" Target="../media/image59.svg"/><Relationship Id="rId4" Type="http://schemas.openxmlformats.org/officeDocument/2006/relationships/diagramQuickStyle" Target="../diagrams/quickStyle2.xml"/><Relationship Id="rId9" Type="http://schemas.openxmlformats.org/officeDocument/2006/relationships/image" Target="../media/image58.png"/></Relationships>
</file>

<file path=ppt/slides/_rels/slide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64.emf"/><Relationship Id="rId4" Type="http://schemas.openxmlformats.org/officeDocument/2006/relationships/image" Target="../media/image63.svg"/></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 Id="rId5" Type="http://schemas.openxmlformats.org/officeDocument/2006/relationships/image" Target="../media/image68.emf"/><Relationship Id="rId4" Type="http://schemas.openxmlformats.org/officeDocument/2006/relationships/image" Target="../media/image67.svg"/></Relationships>
</file>

<file path=ppt/slides/_rels/slide25.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9.xml"/><Relationship Id="rId4" Type="http://schemas.openxmlformats.org/officeDocument/2006/relationships/image" Target="../media/image73.jpeg"/></Relationships>
</file>

<file path=ppt/slides/_rels/slide2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9.xml"/><Relationship Id="rId4" Type="http://schemas.openxmlformats.org/officeDocument/2006/relationships/image" Target="../media/image79.emf"/></Relationships>
</file>

<file path=ppt/slides/_rels/slide3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82.emf"/><Relationship Id="rId4" Type="http://schemas.openxmlformats.org/officeDocument/2006/relationships/image" Target="../media/image81.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image" Target="../media/image83.png"/><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image" Target="../media/image87.emf"/><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jpe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2.png"/><Relationship Id="rId1" Type="http://schemas.openxmlformats.org/officeDocument/2006/relationships/slideLayout" Target="../slideLayouts/slideLayout4.xml"/><Relationship Id="rId6" Type="http://schemas.openxmlformats.org/officeDocument/2006/relationships/image" Target="../media/image95.svg"/><Relationship Id="rId5" Type="http://schemas.openxmlformats.org/officeDocument/2006/relationships/image" Target="../media/image94.png"/><Relationship Id="rId4" Type="http://schemas.openxmlformats.org/officeDocument/2006/relationships/image" Target="../media/image93.svg"/></Relationships>
</file>

<file path=ppt/slides/_rels/slide41.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image" Target="../media/image66.png"/><Relationship Id="rId7" Type="http://schemas.openxmlformats.org/officeDocument/2006/relationships/image" Target="../media/image98.png"/><Relationship Id="rId2" Type="http://schemas.openxmlformats.org/officeDocument/2006/relationships/image" Target="../media/image65.png"/><Relationship Id="rId1" Type="http://schemas.openxmlformats.org/officeDocument/2006/relationships/slideLayout" Target="../slideLayouts/slideLayout2.xml"/><Relationship Id="rId6" Type="http://schemas.openxmlformats.org/officeDocument/2006/relationships/image" Target="../media/image97.svg"/><Relationship Id="rId5" Type="http://schemas.openxmlformats.org/officeDocument/2006/relationships/image" Target="../media/image96.png"/><Relationship Id="rId10" Type="http://schemas.openxmlformats.org/officeDocument/2006/relationships/image" Target="../media/image101.svg"/><Relationship Id="rId4" Type="http://schemas.openxmlformats.org/officeDocument/2006/relationships/image" Target="../media/image67.svg"/><Relationship Id="rId9" Type="http://schemas.openxmlformats.org/officeDocument/2006/relationships/image" Target="../media/image100.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0.xml"/></Relationships>
</file>

<file path=ppt/slides/_rels/slide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png"/><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slideLayout" Target="../slideLayouts/slideLayout2.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 Type="http://schemas.openxmlformats.org/officeDocument/2006/relationships/tags" Target="../tags/tag10.xml"/><Relationship Id="rId16" Type="http://schemas.openxmlformats.org/officeDocument/2006/relationships/tags" Target="../tags/tag24.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tags" Target="../tags/tag23.xml"/><Relationship Id="rId10" Type="http://schemas.openxmlformats.org/officeDocument/2006/relationships/tags" Target="../tags/tag18.xml"/><Relationship Id="rId19" Type="http://schemas.openxmlformats.org/officeDocument/2006/relationships/image" Target="../media/image26.png"/><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EF4DC5D8-9B2B-624C-AC2F-64D5D05C1340}"/>
              </a:ext>
            </a:extLst>
          </p:cNvPr>
          <p:cNvSpPr/>
          <p:nvPr/>
        </p:nvSpPr>
        <p:spPr>
          <a:xfrm>
            <a:off x="-1660648" y="-5111671"/>
            <a:ext cx="9713785" cy="9699714"/>
          </a:xfrm>
          <a:prstGeom prst="ellipse">
            <a:avLst/>
          </a:prstGeom>
          <a:solidFill>
            <a:srgbClr val="E42313">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047A0163-6E96-514C-873B-77172A013D88}"/>
              </a:ext>
            </a:extLst>
          </p:cNvPr>
          <p:cNvGrpSpPr/>
          <p:nvPr/>
        </p:nvGrpSpPr>
        <p:grpSpPr>
          <a:xfrm>
            <a:off x="0" y="5238000"/>
            <a:ext cx="12192000" cy="1620000"/>
            <a:chOff x="0" y="5238000"/>
            <a:chExt cx="12192000" cy="1620000"/>
          </a:xfrm>
          <a:solidFill>
            <a:srgbClr val="EDEDED"/>
          </a:solidFill>
        </p:grpSpPr>
        <p:sp>
          <p:nvSpPr>
            <p:cNvPr id="10" name="Rectangle 9">
              <a:extLst>
                <a:ext uri="{FF2B5EF4-FFF2-40B4-BE49-F238E27FC236}">
                  <a16:creationId xmlns:a16="http://schemas.microsoft.com/office/drawing/2014/main" id="{59FB7610-2116-9546-A8E7-156D55FB25D6}"/>
                </a:ext>
              </a:extLst>
            </p:cNvPr>
            <p:cNvSpPr/>
            <p:nvPr userDrawn="1"/>
          </p:nvSpPr>
          <p:spPr>
            <a:xfrm>
              <a:off x="0" y="5238000"/>
              <a:ext cx="12192000" cy="16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pic>
          <p:nvPicPr>
            <p:cNvPr id="12" name="Picture 11" descr="A picture containing drawing&#10;&#10;Description automatically generated">
              <a:extLst>
                <a:ext uri="{FF2B5EF4-FFF2-40B4-BE49-F238E27FC236}">
                  <a16:creationId xmlns:a16="http://schemas.microsoft.com/office/drawing/2014/main" id="{6C4203F4-E558-9B4A-AF41-9A3874C90E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98412" y="5657663"/>
              <a:ext cx="1073937" cy="715958"/>
            </a:xfrm>
            <a:prstGeom prst="rect">
              <a:avLst/>
            </a:prstGeom>
            <a:grpFill/>
          </p:spPr>
        </p:pic>
      </p:grpSp>
      <p:sp>
        <p:nvSpPr>
          <p:cNvPr id="3" name="Title 2">
            <a:extLst>
              <a:ext uri="{FF2B5EF4-FFF2-40B4-BE49-F238E27FC236}">
                <a16:creationId xmlns:a16="http://schemas.microsoft.com/office/drawing/2014/main" id="{1D6ABCAB-8547-8247-AB76-812DE77FD8A6}"/>
              </a:ext>
            </a:extLst>
          </p:cNvPr>
          <p:cNvSpPr>
            <a:spLocks noGrp="1"/>
          </p:cNvSpPr>
          <p:nvPr>
            <p:ph type="ctrTitle"/>
          </p:nvPr>
        </p:nvSpPr>
        <p:spPr>
          <a:xfrm>
            <a:off x="360000" y="304446"/>
            <a:ext cx="8038412" cy="2266946"/>
          </a:xfrm>
        </p:spPr>
        <p:txBody>
          <a:bodyPr>
            <a:noAutofit/>
          </a:bodyPr>
          <a:lstStyle/>
          <a:p>
            <a:pPr>
              <a:lnSpc>
                <a:spcPct val="100000"/>
              </a:lnSpc>
              <a:spcBef>
                <a:spcPts val="1200"/>
              </a:spcBef>
            </a:pPr>
            <a:r>
              <a:rPr lang="en-GB" sz="2200" dirty="0">
                <a:latin typeface="Calibri" panose="020F0502020204030204" pitchFamily="34" charset="0"/>
                <a:cs typeface="Calibri" panose="020F0502020204030204" pitchFamily="34" charset="0"/>
              </a:rPr>
              <a:t>MON 9202 Ulaanbaatar Community Food Waste Recycling:</a:t>
            </a:r>
            <a:br>
              <a:rPr lang="mn-MN" sz="2200" dirty="0">
                <a:latin typeface="Calibri" panose="020F0502020204030204" pitchFamily="34" charset="0"/>
                <a:cs typeface="Calibri" panose="020F0502020204030204" pitchFamily="34" charset="0"/>
              </a:rPr>
            </a:br>
            <a:r>
              <a:rPr lang="de-AT" sz="2200" b="1" dirty="0">
                <a:latin typeface="Calibri" panose="020F0502020204030204" pitchFamily="34" charset="0"/>
                <a:cs typeface="Calibri" panose="020F0502020204030204" pitchFamily="34" charset="0"/>
              </a:rPr>
              <a:t>Package CS1 </a:t>
            </a:r>
            <a:r>
              <a:rPr lang="en-GB" sz="2200" b="1" dirty="0">
                <a:latin typeface="Calibri" panose="020F0502020204030204" pitchFamily="34" charset="0"/>
                <a:cs typeface="Calibri" panose="020F0502020204030204" pitchFamily="34" charset="0"/>
              </a:rPr>
              <a:t>– Consultancy Services</a:t>
            </a:r>
            <a:br>
              <a:rPr lang="en-GB" sz="2200" dirty="0">
                <a:solidFill>
                  <a:srgbClr val="002060"/>
                </a:solidFill>
                <a:latin typeface="Calibri" panose="020F0502020204030204" pitchFamily="34" charset="0"/>
                <a:cs typeface="Calibri" panose="020F0502020204030204" pitchFamily="34" charset="0"/>
              </a:rPr>
            </a:br>
            <a:r>
              <a:rPr lang="mn-MN" sz="2200" dirty="0">
                <a:solidFill>
                  <a:srgbClr val="002060"/>
                </a:solidFill>
                <a:latin typeface="Calibri" panose="020F0502020204030204" pitchFamily="34" charset="0"/>
                <a:cs typeface="Calibri" panose="020F0502020204030204" pitchFamily="34" charset="0"/>
              </a:rPr>
              <a:t>МОН </a:t>
            </a:r>
            <a:r>
              <a:rPr lang="en-GB" sz="2200" dirty="0">
                <a:solidFill>
                  <a:srgbClr val="002060"/>
                </a:solidFill>
                <a:latin typeface="Calibri" panose="020F0502020204030204" pitchFamily="34" charset="0"/>
                <a:cs typeface="Calibri" panose="020F0502020204030204" pitchFamily="34" charset="0"/>
              </a:rPr>
              <a:t>9202 </a:t>
            </a:r>
            <a:r>
              <a:rPr lang="mn-MN" sz="2200" i="1" dirty="0">
                <a:solidFill>
                  <a:srgbClr val="002060"/>
                </a:solidFill>
                <a:latin typeface="Calibri" panose="020F0502020204030204" pitchFamily="34" charset="0"/>
                <a:cs typeface="Calibri" panose="020F0502020204030204" pitchFamily="34" charset="0"/>
              </a:rPr>
              <a:t>Улаанбаатар хотын</a:t>
            </a:r>
            <a:r>
              <a:rPr lang="en-GB" sz="2200" i="1" dirty="0">
                <a:solidFill>
                  <a:srgbClr val="002060"/>
                </a:solidFill>
                <a:latin typeface="Calibri" panose="020F0502020204030204" pitchFamily="34" charset="0"/>
                <a:cs typeface="Calibri" panose="020F0502020204030204" pitchFamily="34" charset="0"/>
              </a:rPr>
              <a:t> </a:t>
            </a:r>
            <a:r>
              <a:rPr lang="mn-MN" sz="2200" i="1" dirty="0">
                <a:solidFill>
                  <a:srgbClr val="002060"/>
                </a:solidFill>
                <a:latin typeface="Calibri" panose="020F0502020204030204" pitchFamily="34" charset="0"/>
                <a:cs typeface="Calibri" panose="020F0502020204030204" pitchFamily="34" charset="0"/>
              </a:rPr>
              <a:t>хүнсний хаягдлыг </a:t>
            </a:r>
            <a:br>
              <a:rPr lang="en-GB" sz="2200" i="1" dirty="0">
                <a:solidFill>
                  <a:srgbClr val="002060"/>
                </a:solidFill>
                <a:latin typeface="Calibri" panose="020F0502020204030204" pitchFamily="34" charset="0"/>
                <a:cs typeface="Calibri" panose="020F0502020204030204" pitchFamily="34" charset="0"/>
              </a:rPr>
            </a:br>
            <a:r>
              <a:rPr lang="mn-MN" sz="2200" i="1" dirty="0">
                <a:solidFill>
                  <a:srgbClr val="002060"/>
                </a:solidFill>
                <a:latin typeface="Calibri" panose="020F0502020204030204" pitchFamily="34" charset="0"/>
                <a:cs typeface="Calibri" panose="020F0502020204030204" pitchFamily="34" charset="0"/>
              </a:rPr>
              <a:t>дахин боловсруулах төсөл</a:t>
            </a:r>
            <a:r>
              <a:rPr lang="en-GB" sz="2200" i="1" dirty="0">
                <a:solidFill>
                  <a:srgbClr val="002060"/>
                </a:solidFill>
                <a:latin typeface="Calibri" panose="020F0502020204030204" pitchFamily="34" charset="0"/>
                <a:cs typeface="Calibri" panose="020F0502020204030204" pitchFamily="34" charset="0"/>
              </a:rPr>
              <a:t>:</a:t>
            </a:r>
            <a:r>
              <a:rPr lang="mn-MN" sz="2200" i="1" dirty="0">
                <a:solidFill>
                  <a:srgbClr val="002060"/>
                </a:solidFill>
                <a:latin typeface="Calibri" panose="020F0502020204030204" pitchFamily="34" charset="0"/>
                <a:cs typeface="Calibri" panose="020F0502020204030204" pitchFamily="34" charset="0"/>
              </a:rPr>
              <a:t> </a:t>
            </a:r>
            <a:r>
              <a:rPr lang="mn-MN" sz="2200" b="1" i="1" dirty="0">
                <a:solidFill>
                  <a:srgbClr val="002060"/>
                </a:solidFill>
                <a:latin typeface="Calibri" panose="020F0502020204030204" pitchFamily="34" charset="0"/>
                <a:cs typeface="Calibri" panose="020F0502020204030204" pitchFamily="34" charset="0"/>
              </a:rPr>
              <a:t>Багц </a:t>
            </a:r>
            <a:r>
              <a:rPr lang="en-GB" sz="2200" b="1" i="1" dirty="0">
                <a:solidFill>
                  <a:srgbClr val="002060"/>
                </a:solidFill>
                <a:latin typeface="Calibri" panose="020F0502020204030204" pitchFamily="34" charset="0"/>
                <a:cs typeface="Calibri" panose="020F0502020204030204" pitchFamily="34" charset="0"/>
              </a:rPr>
              <a:t>CS 1 </a:t>
            </a:r>
            <a:r>
              <a:rPr lang="mn-MN" sz="2200" b="1" i="1" dirty="0">
                <a:solidFill>
                  <a:srgbClr val="002060"/>
                </a:solidFill>
                <a:latin typeface="Calibri" panose="020F0502020204030204" pitchFamily="34" charset="0"/>
                <a:cs typeface="Calibri" panose="020F0502020204030204" pitchFamily="34" charset="0"/>
              </a:rPr>
              <a:t>-</a:t>
            </a:r>
            <a:r>
              <a:rPr lang="en-GB" sz="2200" b="1" i="1" dirty="0">
                <a:solidFill>
                  <a:srgbClr val="002060"/>
                </a:solidFill>
                <a:latin typeface="Calibri" panose="020F0502020204030204" pitchFamily="34" charset="0"/>
                <a:cs typeface="Calibri" panose="020F0502020204030204" pitchFamily="34" charset="0"/>
              </a:rPr>
              <a:t> </a:t>
            </a:r>
            <a:r>
              <a:rPr lang="mn-MN" sz="2200" b="1" i="1" dirty="0">
                <a:solidFill>
                  <a:srgbClr val="002060"/>
                </a:solidFill>
                <a:latin typeface="Calibri" panose="020F0502020204030204" pitchFamily="34" charset="0"/>
                <a:cs typeface="Calibri" panose="020F0502020204030204" pitchFamily="34" charset="0"/>
              </a:rPr>
              <a:t>Зөвлөх Үйлчилгээ</a:t>
            </a:r>
            <a:br>
              <a:rPr lang="en-GB" sz="2400" dirty="0">
                <a:solidFill>
                  <a:srgbClr val="002060"/>
                </a:solidFill>
                <a:latin typeface="Calibri" panose="020F0502020204030204" pitchFamily="34" charset="0"/>
                <a:cs typeface="Calibri" panose="020F0502020204030204" pitchFamily="34" charset="0"/>
              </a:rPr>
            </a:br>
            <a:br>
              <a:rPr lang="mn-MN" sz="1800" i="1" dirty="0">
                <a:solidFill>
                  <a:srgbClr val="002060"/>
                </a:solidFill>
                <a:latin typeface="Calibri" panose="020F0502020204030204" pitchFamily="34" charset="0"/>
                <a:cs typeface="Calibri" panose="020F0502020204030204" pitchFamily="34" charset="0"/>
              </a:rPr>
            </a:br>
            <a:endParaRPr lang="en-US" sz="1800" i="1" dirty="0">
              <a:solidFill>
                <a:srgbClr val="002060"/>
              </a:solidFill>
              <a:latin typeface="Calibri" panose="020F0502020204030204" pitchFamily="34" charset="0"/>
              <a:cs typeface="Calibri" panose="020F0502020204030204" pitchFamily="34" charset="0"/>
            </a:endParaRPr>
          </a:p>
        </p:txBody>
      </p:sp>
      <p:sp>
        <p:nvSpPr>
          <p:cNvPr id="4" name="Subtitle 3">
            <a:extLst>
              <a:ext uri="{FF2B5EF4-FFF2-40B4-BE49-F238E27FC236}">
                <a16:creationId xmlns:a16="http://schemas.microsoft.com/office/drawing/2014/main" id="{F0ACDCEC-4C15-174F-A51C-DA385528ABA4}"/>
              </a:ext>
            </a:extLst>
          </p:cNvPr>
          <p:cNvSpPr>
            <a:spLocks noGrp="1"/>
          </p:cNvSpPr>
          <p:nvPr>
            <p:ph type="subTitle" idx="1"/>
          </p:nvPr>
        </p:nvSpPr>
        <p:spPr>
          <a:xfrm>
            <a:off x="360000" y="1864500"/>
            <a:ext cx="7432720" cy="1715217"/>
          </a:xfrm>
        </p:spPr>
        <p:txBody>
          <a:bodyPr>
            <a:noAutofit/>
          </a:bodyPr>
          <a:lstStyle/>
          <a:p>
            <a:pPr>
              <a:spcBef>
                <a:spcPts val="0"/>
              </a:spcBef>
            </a:pPr>
            <a:r>
              <a:rPr lang="en-GB" sz="3000" b="1" dirty="0">
                <a:latin typeface="Calibri" panose="020F0502020204030204" pitchFamily="34" charset="0"/>
                <a:ea typeface="Yu Mincho" panose="02020400000000000000" pitchFamily="18" charset="-128"/>
                <a:cs typeface="Calibri" panose="020F0502020204030204" pitchFamily="34" charset="0"/>
              </a:rPr>
              <a:t>FOOD WASTE COMPOSITION STUDY </a:t>
            </a:r>
          </a:p>
          <a:p>
            <a:pPr>
              <a:spcBef>
                <a:spcPts val="0"/>
              </a:spcBef>
            </a:pPr>
            <a:r>
              <a:rPr lang="en-GB" sz="3000" b="1" dirty="0">
                <a:latin typeface="Calibri" panose="020F0502020204030204" pitchFamily="34" charset="0"/>
                <a:ea typeface="Yu Mincho" panose="02020400000000000000" pitchFamily="18" charset="-128"/>
                <a:cs typeface="Calibri" panose="020F0502020204030204" pitchFamily="34" charset="0"/>
              </a:rPr>
              <a:t>AND ATTITUDINAL SURVEY</a:t>
            </a:r>
          </a:p>
          <a:p>
            <a:pPr>
              <a:spcBef>
                <a:spcPts val="600"/>
              </a:spcBef>
            </a:pPr>
            <a:r>
              <a:rPr lang="mn-MN" sz="3000" b="1" i="1" dirty="0">
                <a:solidFill>
                  <a:srgbClr val="203864"/>
                </a:solidFill>
                <a:latin typeface="Calibri" panose="020F0502020204030204" pitchFamily="34" charset="0"/>
                <a:ea typeface="Yu Mincho" panose="02020400000000000000" pitchFamily="18" charset="-128"/>
                <a:cs typeface="Calibri" panose="020F0502020204030204" pitchFamily="34" charset="0"/>
              </a:rPr>
              <a:t>ХҮНСНИЙ ХАЯГДЛЫН БҮТЦИЙН БА ХАНДЛАГЫН СУДАЛГАА</a:t>
            </a:r>
            <a:endParaRPr lang="en-GB" sz="3000" b="1" i="1" dirty="0">
              <a:solidFill>
                <a:srgbClr val="203864"/>
              </a:solidFill>
              <a:latin typeface="Calibri" panose="020F0502020204030204" pitchFamily="34" charset="0"/>
              <a:ea typeface="Yu Mincho" panose="02020400000000000000" pitchFamily="18" charset="-128"/>
              <a:cs typeface="Calibri" panose="020F0502020204030204" pitchFamily="34" charset="0"/>
            </a:endParaRPr>
          </a:p>
          <a:p>
            <a:pPr>
              <a:spcBef>
                <a:spcPts val="0"/>
              </a:spcBef>
            </a:pPr>
            <a:endParaRPr lang="es-ES" sz="3000" b="1" dirty="0">
              <a:solidFill>
                <a:srgbClr val="203864"/>
              </a:solidFill>
              <a:latin typeface="Calibri" panose="020F0502020204030204" pitchFamily="34" charset="0"/>
              <a:ea typeface="Yu Mincho" panose="02020400000000000000" pitchFamily="18" charset="-128"/>
              <a:cs typeface="Calibri" panose="020F0502020204030204" pitchFamily="34" charset="0"/>
            </a:endParaRPr>
          </a:p>
        </p:txBody>
      </p:sp>
      <p:sp>
        <p:nvSpPr>
          <p:cNvPr id="5" name="Text Placeholder 4">
            <a:extLst>
              <a:ext uri="{FF2B5EF4-FFF2-40B4-BE49-F238E27FC236}">
                <a16:creationId xmlns:a16="http://schemas.microsoft.com/office/drawing/2014/main" id="{D794EB7F-339F-C549-A99A-CEF938CC0E09}"/>
              </a:ext>
            </a:extLst>
          </p:cNvPr>
          <p:cNvSpPr>
            <a:spLocks noGrp="1"/>
          </p:cNvSpPr>
          <p:nvPr>
            <p:ph type="body" sz="quarter" idx="10"/>
          </p:nvPr>
        </p:nvSpPr>
        <p:spPr>
          <a:xfrm>
            <a:off x="360000" y="5640402"/>
            <a:ext cx="8255680" cy="825114"/>
          </a:xfrm>
        </p:spPr>
        <p:txBody>
          <a:bodyPr>
            <a:normAutofit/>
          </a:bodyPr>
          <a:lstStyle/>
          <a:p>
            <a:pPr>
              <a:spcBef>
                <a:spcPts val="0"/>
              </a:spcBef>
            </a:pPr>
            <a:r>
              <a:rPr lang="mn-MN" dirty="0">
                <a:latin typeface="Calibri" panose="020F0502020204030204" pitchFamily="34" charset="0"/>
                <a:cs typeface="Calibri" panose="020F0502020204030204" pitchFamily="34" charset="0"/>
              </a:rPr>
              <a:t>28 </a:t>
            </a:r>
            <a:r>
              <a:rPr lang="en-GB" dirty="0">
                <a:latin typeface="Calibri" panose="020F0502020204030204" pitchFamily="34" charset="0"/>
                <a:cs typeface="Calibri" panose="020F0502020204030204" pitchFamily="34" charset="0"/>
              </a:rPr>
              <a:t>October 2022, Ulaanbaatar</a:t>
            </a:r>
          </a:p>
          <a:p>
            <a:pPr>
              <a:spcBef>
                <a:spcPts val="0"/>
              </a:spcBef>
            </a:pPr>
            <a:r>
              <a:rPr lang="ru-RU" i="1" dirty="0">
                <a:solidFill>
                  <a:srgbClr val="002060"/>
                </a:solidFill>
                <a:latin typeface="Calibri" panose="020F0502020204030204" pitchFamily="34" charset="0"/>
                <a:cs typeface="Calibri" panose="020F0502020204030204" pitchFamily="34" charset="0"/>
              </a:rPr>
              <a:t>2022 оны 10-р сарын </a:t>
            </a:r>
            <a:r>
              <a:rPr lang="mn-MN" i="1" dirty="0">
                <a:solidFill>
                  <a:srgbClr val="002060"/>
                </a:solidFill>
                <a:latin typeface="Calibri" panose="020F0502020204030204" pitchFamily="34" charset="0"/>
                <a:cs typeface="Calibri" panose="020F0502020204030204" pitchFamily="34" charset="0"/>
              </a:rPr>
              <a:t>28</a:t>
            </a:r>
            <a:r>
              <a:rPr lang="ru-RU" i="1" dirty="0">
                <a:solidFill>
                  <a:srgbClr val="002060"/>
                </a:solidFill>
                <a:latin typeface="Calibri" panose="020F0502020204030204" pitchFamily="34" charset="0"/>
                <a:cs typeface="Calibri" panose="020F0502020204030204" pitchFamily="34" charset="0"/>
              </a:rPr>
              <a:t>-ны өдөр, Улаанбаатар</a:t>
            </a:r>
            <a:r>
              <a:rPr lang="mn-MN" i="1" dirty="0">
                <a:solidFill>
                  <a:srgbClr val="002060"/>
                </a:solidFill>
                <a:latin typeface="Calibri" panose="020F0502020204030204" pitchFamily="34" charset="0"/>
                <a:cs typeface="Calibri" panose="020F0502020204030204" pitchFamily="34" charset="0"/>
              </a:rPr>
              <a:t> хот</a:t>
            </a:r>
            <a:endParaRPr lang="ru-RU" i="1" dirty="0">
              <a:solidFill>
                <a:srgbClr val="002060"/>
              </a:solidFill>
              <a:latin typeface="Calibri" panose="020F0502020204030204" pitchFamily="34" charset="0"/>
              <a:cs typeface="Calibri" panose="020F0502020204030204" pitchFamily="34" charset="0"/>
            </a:endParaRPr>
          </a:p>
          <a:p>
            <a:pPr>
              <a:spcBef>
                <a:spcPts val="0"/>
              </a:spcBef>
            </a:pPr>
            <a:endParaRPr lang="mn-MN" dirty="0">
              <a:solidFill>
                <a:srgbClr val="002060"/>
              </a:solidFill>
              <a:latin typeface="Calibri" panose="020F0502020204030204" pitchFamily="34" charset="0"/>
              <a:cs typeface="Calibri" panose="020F0502020204030204" pitchFamily="34" charset="0"/>
            </a:endParaRPr>
          </a:p>
          <a:p>
            <a:pPr>
              <a:spcBef>
                <a:spcPts val="0"/>
              </a:spcBef>
            </a:pPr>
            <a:endParaRPr lang="es-ES" i="1" dirty="0">
              <a:solidFill>
                <a:srgbClr val="002060"/>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9AB9B290-D368-3945-B5E3-234FE74BA490}"/>
              </a:ext>
            </a:extLst>
          </p:cNvPr>
          <p:cNvSpPr txBox="1"/>
          <p:nvPr/>
        </p:nvSpPr>
        <p:spPr>
          <a:xfrm>
            <a:off x="360000" y="6544316"/>
            <a:ext cx="5400000" cy="92333"/>
          </a:xfrm>
          <a:prstGeom prst="rect">
            <a:avLst/>
          </a:prstGeom>
          <a:noFill/>
        </p:spPr>
        <p:txBody>
          <a:bodyPr wrap="square" lIns="0" tIns="0" rIns="0" bIns="0" rtlCol="0">
            <a:spAutoFit/>
          </a:bodyPr>
          <a:lstStyle/>
          <a:p>
            <a:r>
              <a:rPr lang="en-US" sz="600" dirty="0">
                <a:latin typeface="Tahoma" panose="020B0604030504040204" pitchFamily="34" charset="0"/>
                <a:ea typeface="Tahoma" panose="020B0604030504040204" pitchFamily="34" charset="0"/>
                <a:cs typeface="Tahoma" panose="020B0604030504040204" pitchFamily="34" charset="0"/>
              </a:rPr>
              <a:t>Copyright © 2021 BSI. All rights reserved</a:t>
            </a:r>
          </a:p>
        </p:txBody>
      </p:sp>
      <p:pic>
        <p:nvPicPr>
          <p:cNvPr id="17" name="Picture 16">
            <a:extLst>
              <a:ext uri="{FF2B5EF4-FFF2-40B4-BE49-F238E27FC236}">
                <a16:creationId xmlns:a16="http://schemas.microsoft.com/office/drawing/2014/main" id="{1C4BA056-005F-48A2-836D-3882FC9C0D7B}"/>
              </a:ext>
            </a:extLst>
          </p:cNvPr>
          <p:cNvPicPr/>
          <p:nvPr/>
        </p:nvPicPr>
        <p:blipFill>
          <a:blip r:embed="rId3">
            <a:extLst>
              <a:ext uri="{28A0092B-C50C-407E-A947-70E740481C1C}">
                <a14:useLocalDpi xmlns:a14="http://schemas.microsoft.com/office/drawing/2010/main"/>
              </a:ext>
            </a:extLst>
          </a:blip>
          <a:srcRect/>
          <a:stretch>
            <a:fillRect/>
          </a:stretch>
        </p:blipFill>
        <p:spPr bwMode="auto">
          <a:xfrm>
            <a:off x="9808349" y="5766402"/>
            <a:ext cx="1950898" cy="607219"/>
          </a:xfrm>
          <a:prstGeom prst="rect">
            <a:avLst/>
          </a:prstGeom>
          <a:noFill/>
        </p:spPr>
      </p:pic>
      <p:pic>
        <p:nvPicPr>
          <p:cNvPr id="14" name="Picture 13">
            <a:extLst>
              <a:ext uri="{FF2B5EF4-FFF2-40B4-BE49-F238E27FC236}">
                <a16:creationId xmlns:a16="http://schemas.microsoft.com/office/drawing/2014/main" id="{2FF24E5C-F64C-45EE-AA58-9A02275B4A68}"/>
              </a:ext>
            </a:extLst>
          </p:cNvPr>
          <p:cNvPicPr>
            <a:picLocks noChangeAspect="1"/>
          </p:cNvPicPr>
          <p:nvPr/>
        </p:nvPicPr>
        <p:blipFill>
          <a:blip r:embed="rId4">
            <a:clrChange>
              <a:clrFrom>
                <a:srgbClr val="FFFFFF"/>
              </a:clrFrom>
              <a:clrTo>
                <a:srgbClr val="FFFFFF">
                  <a:alpha val="0"/>
                </a:srgbClr>
              </a:clrTo>
            </a:clrChange>
          </a:blip>
          <a:srcRect/>
          <a:stretch>
            <a:fillRect/>
          </a:stretch>
        </p:blipFill>
        <p:spPr bwMode="auto">
          <a:xfrm>
            <a:off x="6096000" y="3498444"/>
            <a:ext cx="6029924" cy="1620000"/>
          </a:xfrm>
          <a:prstGeom prst="rect">
            <a:avLst/>
          </a:prstGeom>
          <a:noFill/>
          <a:ln w="9525">
            <a:noFill/>
            <a:miter lim="800000"/>
            <a:headEnd/>
            <a:tailEnd/>
          </a:ln>
        </p:spPr>
      </p:pic>
      <p:pic>
        <p:nvPicPr>
          <p:cNvPr id="7" name="Picture 6">
            <a:extLst>
              <a:ext uri="{FF2B5EF4-FFF2-40B4-BE49-F238E27FC236}">
                <a16:creationId xmlns:a16="http://schemas.microsoft.com/office/drawing/2014/main" id="{AD8B2276-552C-4F6C-98CB-617033603537}"/>
              </a:ext>
            </a:extLst>
          </p:cNvPr>
          <p:cNvPicPr>
            <a:picLocks noChangeAspect="1"/>
          </p:cNvPicPr>
          <p:nvPr/>
        </p:nvPicPr>
        <p:blipFill>
          <a:blip r:embed="rId5"/>
          <a:stretch>
            <a:fillRect/>
          </a:stretch>
        </p:blipFill>
        <p:spPr>
          <a:xfrm>
            <a:off x="8615680" y="731027"/>
            <a:ext cx="2814297" cy="2266946"/>
          </a:xfrm>
          <a:prstGeom prst="rect">
            <a:avLst/>
          </a:prstGeom>
        </p:spPr>
      </p:pic>
    </p:spTree>
    <p:extLst>
      <p:ext uri="{BB962C8B-B14F-4D97-AF65-F5344CB8AC3E}">
        <p14:creationId xmlns:p14="http://schemas.microsoft.com/office/powerpoint/2010/main" val="24394225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801CC-E369-4545-9557-94A435E4674A}"/>
              </a:ext>
            </a:extLst>
          </p:cNvPr>
          <p:cNvSpPr>
            <a:spLocks noGrp="1"/>
          </p:cNvSpPr>
          <p:nvPr>
            <p:ph type="title"/>
          </p:nvPr>
        </p:nvSpPr>
        <p:spPr>
          <a:xfrm>
            <a:off x="360000" y="359999"/>
            <a:ext cx="11344320" cy="1335027"/>
          </a:xfrm>
        </p:spPr>
        <p:txBody>
          <a:bodyPr>
            <a:normAutofit/>
          </a:bodyPr>
          <a:lstStyle/>
          <a:p>
            <a:r>
              <a:rPr lang="mn-MN" dirty="0"/>
              <a:t>ХҮНСНИЙ ХАЯГДАЛ ГЭЖ ЮУ ВЭ</a:t>
            </a:r>
            <a:r>
              <a:rPr lang="en-GB" dirty="0"/>
              <a:t>?</a:t>
            </a:r>
            <a:br>
              <a:rPr lang="en-GB" dirty="0"/>
            </a:br>
            <a:r>
              <a:rPr lang="mn-MN" dirty="0"/>
              <a:t>ХҮНСНИЙ ХАЯГДЛЫН АСУУДАЛ ЯАГААД ЧУХАЛ ГЭЖ</a:t>
            </a:r>
            <a:r>
              <a:rPr lang="en-GB" dirty="0"/>
              <a:t>?</a:t>
            </a:r>
          </a:p>
        </p:txBody>
      </p:sp>
      <p:sp>
        <p:nvSpPr>
          <p:cNvPr id="5" name="Slide Number Placeholder 4"/>
          <p:cNvSpPr>
            <a:spLocks noGrp="1"/>
          </p:cNvSpPr>
          <p:nvPr>
            <p:ph type="sldNum" sz="quarter" idx="12"/>
          </p:nvPr>
        </p:nvSpPr>
        <p:spPr/>
        <p:txBody>
          <a:bodyPr/>
          <a:lstStyle/>
          <a:p>
            <a:fld id="{C1B07ACB-AE6F-47F7-B02A-AE02D6CD5526}" type="slidenum">
              <a:rPr lang="en-GB" smtClean="0"/>
              <a:pPr/>
              <a:t>10</a:t>
            </a:fld>
            <a:endParaRPr lang="en-GB" dirty="0"/>
          </a:p>
        </p:txBody>
      </p:sp>
      <p:pic>
        <p:nvPicPr>
          <p:cNvPr id="6" name="Picture 5">
            <a:extLst>
              <a:ext uri="{FF2B5EF4-FFF2-40B4-BE49-F238E27FC236}">
                <a16:creationId xmlns:a16="http://schemas.microsoft.com/office/drawing/2014/main" id="{99F975A3-9771-4A97-BB92-C5BFBA88A420}"/>
              </a:ext>
            </a:extLst>
          </p:cNvPr>
          <p:cNvPicPr/>
          <p:nvPr/>
        </p:nvPicPr>
        <p:blipFill>
          <a:blip r:embed="rId3" cstate="screen">
            <a:extLst>
              <a:ext uri="{28A0092B-C50C-407E-A947-70E740481C1C}">
                <a14:useLocalDpi xmlns:a14="http://schemas.microsoft.com/office/drawing/2010/main"/>
              </a:ext>
            </a:extLst>
          </a:blip>
          <a:srcRect/>
          <a:stretch>
            <a:fillRect/>
          </a:stretch>
        </p:blipFill>
        <p:spPr bwMode="auto">
          <a:xfrm>
            <a:off x="1261056" y="6197284"/>
            <a:ext cx="1547628" cy="472236"/>
          </a:xfrm>
          <a:prstGeom prst="rect">
            <a:avLst/>
          </a:prstGeom>
          <a:noFill/>
        </p:spPr>
      </p:pic>
      <p:grpSp>
        <p:nvGrpSpPr>
          <p:cNvPr id="24" name="Plate4" descr="{&quot;Key&quot;:&quot;POWER_USER_SHAPE_ICON&quot;,&quot;Value&quot;:&quot;POWER_USER_SHAPE_ICON_STYLE_1&quot;}">
            <a:extLst>
              <a:ext uri="{FF2B5EF4-FFF2-40B4-BE49-F238E27FC236}">
                <a16:creationId xmlns:a16="http://schemas.microsoft.com/office/drawing/2014/main" id="{8DF60509-393A-4F9E-81B0-26D53AE3D484}"/>
              </a:ext>
            </a:extLst>
          </p:cNvPr>
          <p:cNvGrpSpPr>
            <a:grpSpLocks noChangeAspect="1"/>
          </p:cNvGrpSpPr>
          <p:nvPr>
            <p:custDataLst>
              <p:tags r:id="rId1"/>
            </p:custDataLst>
          </p:nvPr>
        </p:nvGrpSpPr>
        <p:grpSpPr>
          <a:xfrm>
            <a:off x="4441372" y="1985210"/>
            <a:ext cx="3550175" cy="3550175"/>
            <a:chOff x="5719223" y="5406167"/>
            <a:chExt cx="287338" cy="287338"/>
          </a:xfrm>
          <a:solidFill>
            <a:schemeClr val="accent2"/>
          </a:solidFill>
        </p:grpSpPr>
        <p:sp>
          <p:nvSpPr>
            <p:cNvPr id="25" name="Freeform 259">
              <a:extLst>
                <a:ext uri="{FF2B5EF4-FFF2-40B4-BE49-F238E27FC236}">
                  <a16:creationId xmlns:a16="http://schemas.microsoft.com/office/drawing/2014/main" id="{6AA989D9-E6CC-439E-B988-85B0678F6AC4}"/>
                </a:ext>
              </a:extLst>
            </p:cNvPr>
            <p:cNvSpPr>
              <a:spLocks/>
            </p:cNvSpPr>
            <p:nvPr/>
          </p:nvSpPr>
          <p:spPr bwMode="auto">
            <a:xfrm>
              <a:off x="5862098" y="5587142"/>
              <a:ext cx="1588" cy="3175"/>
            </a:xfrm>
            <a:custGeom>
              <a:avLst/>
              <a:gdLst>
                <a:gd name="T0" fmla="*/ 0 w 3"/>
                <a:gd name="T1" fmla="*/ 1 h 5"/>
                <a:gd name="T2" fmla="*/ 1 w 3"/>
                <a:gd name="T3" fmla="*/ 5 h 5"/>
                <a:gd name="T4" fmla="*/ 3 w 3"/>
                <a:gd name="T5" fmla="*/ 1 h 5"/>
                <a:gd name="T6" fmla="*/ 1 w 3"/>
                <a:gd name="T7" fmla="*/ 0 h 5"/>
                <a:gd name="T8" fmla="*/ 0 w 3"/>
                <a:gd name="T9" fmla="*/ 1 h 5"/>
              </a:gdLst>
              <a:ahLst/>
              <a:cxnLst>
                <a:cxn ang="0">
                  <a:pos x="T0" y="T1"/>
                </a:cxn>
                <a:cxn ang="0">
                  <a:pos x="T2" y="T3"/>
                </a:cxn>
                <a:cxn ang="0">
                  <a:pos x="T4" y="T5"/>
                </a:cxn>
                <a:cxn ang="0">
                  <a:pos x="T6" y="T7"/>
                </a:cxn>
                <a:cxn ang="0">
                  <a:pos x="T8" y="T9"/>
                </a:cxn>
              </a:cxnLst>
              <a:rect l="0" t="0" r="r" b="b"/>
              <a:pathLst>
                <a:path w="3" h="5">
                  <a:moveTo>
                    <a:pt x="0" y="1"/>
                  </a:moveTo>
                  <a:cubicBezTo>
                    <a:pt x="0" y="2"/>
                    <a:pt x="1" y="4"/>
                    <a:pt x="1" y="5"/>
                  </a:cubicBezTo>
                  <a:cubicBezTo>
                    <a:pt x="2" y="4"/>
                    <a:pt x="2" y="2"/>
                    <a:pt x="3" y="1"/>
                  </a:cubicBezTo>
                  <a:cubicBezTo>
                    <a:pt x="2" y="1"/>
                    <a:pt x="2" y="0"/>
                    <a:pt x="1" y="0"/>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260">
              <a:extLst>
                <a:ext uri="{FF2B5EF4-FFF2-40B4-BE49-F238E27FC236}">
                  <a16:creationId xmlns:a16="http://schemas.microsoft.com/office/drawing/2014/main" id="{FFECDDFC-F71E-49AA-9CE6-2E042D074B25}"/>
                </a:ext>
              </a:extLst>
            </p:cNvPr>
            <p:cNvSpPr>
              <a:spLocks/>
            </p:cNvSpPr>
            <p:nvPr/>
          </p:nvSpPr>
          <p:spPr bwMode="auto">
            <a:xfrm>
              <a:off x="5860511" y="5512530"/>
              <a:ext cx="4763" cy="4763"/>
            </a:xfrm>
            <a:custGeom>
              <a:avLst/>
              <a:gdLst>
                <a:gd name="T0" fmla="*/ 0 w 5"/>
                <a:gd name="T1" fmla="*/ 0 h 6"/>
                <a:gd name="T2" fmla="*/ 2 w 5"/>
                <a:gd name="T3" fmla="*/ 6 h 6"/>
                <a:gd name="T4" fmla="*/ 5 w 5"/>
                <a:gd name="T5" fmla="*/ 0 h 6"/>
                <a:gd name="T6" fmla="*/ 2 w 5"/>
                <a:gd name="T7" fmla="*/ 0 h 6"/>
                <a:gd name="T8" fmla="*/ 0 w 5"/>
                <a:gd name="T9" fmla="*/ 0 h 6"/>
              </a:gdLst>
              <a:ahLst/>
              <a:cxnLst>
                <a:cxn ang="0">
                  <a:pos x="T0" y="T1"/>
                </a:cxn>
                <a:cxn ang="0">
                  <a:pos x="T2" y="T3"/>
                </a:cxn>
                <a:cxn ang="0">
                  <a:pos x="T4" y="T5"/>
                </a:cxn>
                <a:cxn ang="0">
                  <a:pos x="T6" y="T7"/>
                </a:cxn>
                <a:cxn ang="0">
                  <a:pos x="T8" y="T9"/>
                </a:cxn>
              </a:cxnLst>
              <a:rect l="0" t="0" r="r" b="b"/>
              <a:pathLst>
                <a:path w="5" h="6">
                  <a:moveTo>
                    <a:pt x="0" y="0"/>
                  </a:moveTo>
                  <a:cubicBezTo>
                    <a:pt x="1" y="2"/>
                    <a:pt x="2" y="3"/>
                    <a:pt x="2" y="6"/>
                  </a:cubicBezTo>
                  <a:cubicBezTo>
                    <a:pt x="3" y="3"/>
                    <a:pt x="4" y="2"/>
                    <a:pt x="5" y="0"/>
                  </a:cubicBezTo>
                  <a:cubicBezTo>
                    <a:pt x="4" y="0"/>
                    <a:pt x="3" y="0"/>
                    <a:pt x="2"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261">
              <a:extLst>
                <a:ext uri="{FF2B5EF4-FFF2-40B4-BE49-F238E27FC236}">
                  <a16:creationId xmlns:a16="http://schemas.microsoft.com/office/drawing/2014/main" id="{5B96D3D0-4155-4290-A109-7FFFD0E36815}"/>
                </a:ext>
              </a:extLst>
            </p:cNvPr>
            <p:cNvSpPr>
              <a:spLocks/>
            </p:cNvSpPr>
            <p:nvPr/>
          </p:nvSpPr>
          <p:spPr bwMode="auto">
            <a:xfrm>
              <a:off x="5762086" y="5480780"/>
              <a:ext cx="41275" cy="60325"/>
            </a:xfrm>
            <a:custGeom>
              <a:avLst/>
              <a:gdLst>
                <a:gd name="T0" fmla="*/ 51 w 53"/>
                <a:gd name="T1" fmla="*/ 7 h 78"/>
                <a:gd name="T2" fmla="*/ 50 w 53"/>
                <a:gd name="T3" fmla="*/ 10 h 78"/>
                <a:gd name="T4" fmla="*/ 43 w 53"/>
                <a:gd name="T5" fmla="*/ 52 h 78"/>
                <a:gd name="T6" fmla="*/ 35 w 53"/>
                <a:gd name="T7" fmla="*/ 56 h 78"/>
                <a:gd name="T8" fmla="*/ 31 w 53"/>
                <a:gd name="T9" fmla="*/ 51 h 78"/>
                <a:gd name="T10" fmla="*/ 27 w 53"/>
                <a:gd name="T11" fmla="*/ 3 h 78"/>
                <a:gd name="T12" fmla="*/ 26 w 53"/>
                <a:gd name="T13" fmla="*/ 0 h 78"/>
                <a:gd name="T14" fmla="*/ 26 w 53"/>
                <a:gd name="T15" fmla="*/ 2 h 78"/>
                <a:gd name="T16" fmla="*/ 22 w 53"/>
                <a:gd name="T17" fmla="*/ 51 h 78"/>
                <a:gd name="T18" fmla="*/ 18 w 53"/>
                <a:gd name="T19" fmla="*/ 56 h 78"/>
                <a:gd name="T20" fmla="*/ 10 w 53"/>
                <a:gd name="T21" fmla="*/ 52 h 78"/>
                <a:gd name="T22" fmla="*/ 3 w 53"/>
                <a:gd name="T23" fmla="*/ 9 h 78"/>
                <a:gd name="T24" fmla="*/ 2 w 53"/>
                <a:gd name="T25" fmla="*/ 7 h 78"/>
                <a:gd name="T26" fmla="*/ 1 w 53"/>
                <a:gd name="T27" fmla="*/ 10 h 78"/>
                <a:gd name="T28" fmla="*/ 0 w 53"/>
                <a:gd name="T29" fmla="*/ 43 h 78"/>
                <a:gd name="T30" fmla="*/ 18 w 53"/>
                <a:gd name="T31" fmla="*/ 76 h 78"/>
                <a:gd name="T32" fmla="*/ 18 w 53"/>
                <a:gd name="T33" fmla="*/ 76 h 78"/>
                <a:gd name="T34" fmla="*/ 22 w 53"/>
                <a:gd name="T35" fmla="*/ 78 h 78"/>
                <a:gd name="T36" fmla="*/ 26 w 53"/>
                <a:gd name="T37" fmla="*/ 78 h 78"/>
                <a:gd name="T38" fmla="*/ 31 w 53"/>
                <a:gd name="T39" fmla="*/ 78 h 78"/>
                <a:gd name="T40" fmla="*/ 35 w 53"/>
                <a:gd name="T41" fmla="*/ 76 h 78"/>
                <a:gd name="T42" fmla="*/ 35 w 53"/>
                <a:gd name="T43" fmla="*/ 76 h 78"/>
                <a:gd name="T44" fmla="*/ 53 w 53"/>
                <a:gd name="T45" fmla="*/ 43 h 78"/>
                <a:gd name="T46" fmla="*/ 52 w 53"/>
                <a:gd name="T47" fmla="*/ 10 h 78"/>
                <a:gd name="T48" fmla="*/ 51 w 53"/>
                <a:gd name="T49" fmla="*/ 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78">
                  <a:moveTo>
                    <a:pt x="51" y="7"/>
                  </a:moveTo>
                  <a:cubicBezTo>
                    <a:pt x="51" y="7"/>
                    <a:pt x="50" y="8"/>
                    <a:pt x="50" y="10"/>
                  </a:cubicBezTo>
                  <a:cubicBezTo>
                    <a:pt x="50" y="15"/>
                    <a:pt x="51" y="43"/>
                    <a:pt x="43" y="52"/>
                  </a:cubicBezTo>
                  <a:cubicBezTo>
                    <a:pt x="41" y="55"/>
                    <a:pt x="38" y="56"/>
                    <a:pt x="35" y="56"/>
                  </a:cubicBezTo>
                  <a:cubicBezTo>
                    <a:pt x="33" y="56"/>
                    <a:pt x="31" y="54"/>
                    <a:pt x="31" y="51"/>
                  </a:cubicBezTo>
                  <a:lnTo>
                    <a:pt x="27" y="3"/>
                  </a:lnTo>
                  <a:cubicBezTo>
                    <a:pt x="27" y="1"/>
                    <a:pt x="27" y="0"/>
                    <a:pt x="26" y="0"/>
                  </a:cubicBezTo>
                  <a:cubicBezTo>
                    <a:pt x="26" y="0"/>
                    <a:pt x="26" y="1"/>
                    <a:pt x="26" y="2"/>
                  </a:cubicBezTo>
                  <a:lnTo>
                    <a:pt x="22" y="51"/>
                  </a:lnTo>
                  <a:cubicBezTo>
                    <a:pt x="22" y="54"/>
                    <a:pt x="20" y="56"/>
                    <a:pt x="18" y="56"/>
                  </a:cubicBezTo>
                  <a:cubicBezTo>
                    <a:pt x="15" y="56"/>
                    <a:pt x="12" y="55"/>
                    <a:pt x="10" y="52"/>
                  </a:cubicBezTo>
                  <a:cubicBezTo>
                    <a:pt x="2" y="43"/>
                    <a:pt x="3" y="15"/>
                    <a:pt x="3" y="9"/>
                  </a:cubicBezTo>
                  <a:cubicBezTo>
                    <a:pt x="3" y="8"/>
                    <a:pt x="2" y="7"/>
                    <a:pt x="2" y="7"/>
                  </a:cubicBezTo>
                  <a:cubicBezTo>
                    <a:pt x="2" y="7"/>
                    <a:pt x="1" y="8"/>
                    <a:pt x="1" y="10"/>
                  </a:cubicBezTo>
                  <a:lnTo>
                    <a:pt x="0" y="43"/>
                  </a:lnTo>
                  <a:cubicBezTo>
                    <a:pt x="0" y="59"/>
                    <a:pt x="8" y="72"/>
                    <a:pt x="18" y="76"/>
                  </a:cubicBezTo>
                  <a:cubicBezTo>
                    <a:pt x="18" y="76"/>
                    <a:pt x="18" y="76"/>
                    <a:pt x="18" y="76"/>
                  </a:cubicBezTo>
                  <a:cubicBezTo>
                    <a:pt x="20" y="77"/>
                    <a:pt x="21" y="77"/>
                    <a:pt x="22" y="78"/>
                  </a:cubicBezTo>
                  <a:cubicBezTo>
                    <a:pt x="24" y="78"/>
                    <a:pt x="25" y="78"/>
                    <a:pt x="26" y="78"/>
                  </a:cubicBezTo>
                  <a:cubicBezTo>
                    <a:pt x="28" y="78"/>
                    <a:pt x="29" y="78"/>
                    <a:pt x="31" y="78"/>
                  </a:cubicBezTo>
                  <a:cubicBezTo>
                    <a:pt x="32" y="77"/>
                    <a:pt x="33" y="77"/>
                    <a:pt x="35" y="76"/>
                  </a:cubicBezTo>
                  <a:cubicBezTo>
                    <a:pt x="35" y="76"/>
                    <a:pt x="35" y="76"/>
                    <a:pt x="35" y="76"/>
                  </a:cubicBezTo>
                  <a:cubicBezTo>
                    <a:pt x="45" y="72"/>
                    <a:pt x="53" y="59"/>
                    <a:pt x="53" y="43"/>
                  </a:cubicBezTo>
                  <a:lnTo>
                    <a:pt x="52" y="10"/>
                  </a:lnTo>
                  <a:cubicBezTo>
                    <a:pt x="52" y="8"/>
                    <a:pt x="51" y="7"/>
                    <a:pt x="5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262">
              <a:extLst>
                <a:ext uri="{FF2B5EF4-FFF2-40B4-BE49-F238E27FC236}">
                  <a16:creationId xmlns:a16="http://schemas.microsoft.com/office/drawing/2014/main" id="{01741BBD-237F-4133-B17E-28EB84DB3399}"/>
                </a:ext>
              </a:extLst>
            </p:cNvPr>
            <p:cNvSpPr>
              <a:spLocks/>
            </p:cNvSpPr>
            <p:nvPr/>
          </p:nvSpPr>
          <p:spPr bwMode="auto">
            <a:xfrm>
              <a:off x="5776373" y="5547455"/>
              <a:ext cx="14288" cy="73025"/>
            </a:xfrm>
            <a:custGeom>
              <a:avLst/>
              <a:gdLst>
                <a:gd name="T0" fmla="*/ 4 w 19"/>
                <a:gd name="T1" fmla="*/ 0 h 97"/>
                <a:gd name="T2" fmla="*/ 0 w 19"/>
                <a:gd name="T3" fmla="*/ 84 h 97"/>
                <a:gd name="T4" fmla="*/ 3 w 19"/>
                <a:gd name="T5" fmla="*/ 93 h 97"/>
                <a:gd name="T6" fmla="*/ 16 w 19"/>
                <a:gd name="T7" fmla="*/ 93 h 97"/>
                <a:gd name="T8" fmla="*/ 19 w 19"/>
                <a:gd name="T9" fmla="*/ 84 h 97"/>
                <a:gd name="T10" fmla="*/ 15 w 19"/>
                <a:gd name="T11" fmla="*/ 0 h 97"/>
                <a:gd name="T12" fmla="*/ 4 w 19"/>
                <a:gd name="T13" fmla="*/ 0 h 97"/>
              </a:gdLst>
              <a:ahLst/>
              <a:cxnLst>
                <a:cxn ang="0">
                  <a:pos x="T0" y="T1"/>
                </a:cxn>
                <a:cxn ang="0">
                  <a:pos x="T2" y="T3"/>
                </a:cxn>
                <a:cxn ang="0">
                  <a:pos x="T4" y="T5"/>
                </a:cxn>
                <a:cxn ang="0">
                  <a:pos x="T6" y="T7"/>
                </a:cxn>
                <a:cxn ang="0">
                  <a:pos x="T8" y="T9"/>
                </a:cxn>
                <a:cxn ang="0">
                  <a:pos x="T10" y="T11"/>
                </a:cxn>
                <a:cxn ang="0">
                  <a:pos x="T12" y="T13"/>
                </a:cxn>
              </a:cxnLst>
              <a:rect l="0" t="0" r="r" b="b"/>
              <a:pathLst>
                <a:path w="19" h="97">
                  <a:moveTo>
                    <a:pt x="4" y="0"/>
                  </a:moveTo>
                  <a:lnTo>
                    <a:pt x="0" y="84"/>
                  </a:lnTo>
                  <a:cubicBezTo>
                    <a:pt x="0" y="88"/>
                    <a:pt x="1" y="91"/>
                    <a:pt x="3" y="93"/>
                  </a:cubicBezTo>
                  <a:cubicBezTo>
                    <a:pt x="6" y="97"/>
                    <a:pt x="13" y="97"/>
                    <a:pt x="16" y="93"/>
                  </a:cubicBezTo>
                  <a:cubicBezTo>
                    <a:pt x="18" y="91"/>
                    <a:pt x="19" y="88"/>
                    <a:pt x="19" y="84"/>
                  </a:cubicBezTo>
                  <a:lnTo>
                    <a:pt x="15" y="0"/>
                  </a:lnTo>
                  <a:cubicBezTo>
                    <a:pt x="11" y="1"/>
                    <a:pt x="8"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263">
              <a:extLst>
                <a:ext uri="{FF2B5EF4-FFF2-40B4-BE49-F238E27FC236}">
                  <a16:creationId xmlns:a16="http://schemas.microsoft.com/office/drawing/2014/main" id="{BAB11273-6426-4A66-90E4-783689F28385}"/>
                </a:ext>
              </a:extLst>
            </p:cNvPr>
            <p:cNvSpPr>
              <a:spLocks/>
            </p:cNvSpPr>
            <p:nvPr/>
          </p:nvSpPr>
          <p:spPr bwMode="auto">
            <a:xfrm>
              <a:off x="5862098" y="5550630"/>
              <a:ext cx="1588" cy="3175"/>
            </a:xfrm>
            <a:custGeom>
              <a:avLst/>
              <a:gdLst>
                <a:gd name="T0" fmla="*/ 0 w 3"/>
                <a:gd name="T1" fmla="*/ 1 h 5"/>
                <a:gd name="T2" fmla="*/ 1 w 3"/>
                <a:gd name="T3" fmla="*/ 5 h 5"/>
                <a:gd name="T4" fmla="*/ 3 w 3"/>
                <a:gd name="T5" fmla="*/ 1 h 5"/>
                <a:gd name="T6" fmla="*/ 1 w 3"/>
                <a:gd name="T7" fmla="*/ 0 h 5"/>
                <a:gd name="T8" fmla="*/ 0 w 3"/>
                <a:gd name="T9" fmla="*/ 1 h 5"/>
              </a:gdLst>
              <a:ahLst/>
              <a:cxnLst>
                <a:cxn ang="0">
                  <a:pos x="T0" y="T1"/>
                </a:cxn>
                <a:cxn ang="0">
                  <a:pos x="T2" y="T3"/>
                </a:cxn>
                <a:cxn ang="0">
                  <a:pos x="T4" y="T5"/>
                </a:cxn>
                <a:cxn ang="0">
                  <a:pos x="T6" y="T7"/>
                </a:cxn>
                <a:cxn ang="0">
                  <a:pos x="T8" y="T9"/>
                </a:cxn>
              </a:cxnLst>
              <a:rect l="0" t="0" r="r" b="b"/>
              <a:pathLst>
                <a:path w="3" h="5">
                  <a:moveTo>
                    <a:pt x="0" y="1"/>
                  </a:moveTo>
                  <a:cubicBezTo>
                    <a:pt x="0" y="2"/>
                    <a:pt x="1" y="3"/>
                    <a:pt x="1" y="5"/>
                  </a:cubicBezTo>
                  <a:cubicBezTo>
                    <a:pt x="2" y="3"/>
                    <a:pt x="2" y="2"/>
                    <a:pt x="3" y="1"/>
                  </a:cubicBezTo>
                  <a:cubicBezTo>
                    <a:pt x="2" y="1"/>
                    <a:pt x="2" y="0"/>
                    <a:pt x="1" y="0"/>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Shape 4055">
              <a:extLst>
                <a:ext uri="{FF2B5EF4-FFF2-40B4-BE49-F238E27FC236}">
                  <a16:creationId xmlns:a16="http://schemas.microsoft.com/office/drawing/2014/main" id="{2E04BA4F-D215-4540-9C15-31E5DA506AC4}"/>
                </a:ext>
              </a:extLst>
            </p:cNvPr>
            <p:cNvSpPr>
              <a:spLocks/>
            </p:cNvSpPr>
            <p:nvPr/>
          </p:nvSpPr>
          <p:spPr bwMode="auto">
            <a:xfrm>
              <a:off x="5922423" y="5483955"/>
              <a:ext cx="39688" cy="60325"/>
            </a:xfrm>
            <a:custGeom>
              <a:avLst/>
              <a:gdLst>
                <a:gd name="connsiteX0" fmla="*/ 13494 w 39688"/>
                <a:gd name="connsiteY0" fmla="*/ 13462 h 60325"/>
                <a:gd name="connsiteX1" fmla="*/ 7938 w 39688"/>
                <a:gd name="connsiteY1" fmla="*/ 14986 h 60325"/>
                <a:gd name="connsiteX2" fmla="*/ 3175 w 39688"/>
                <a:gd name="connsiteY2" fmla="*/ 31750 h 60325"/>
                <a:gd name="connsiteX3" fmla="*/ 7938 w 39688"/>
                <a:gd name="connsiteY3" fmla="*/ 49276 h 60325"/>
                <a:gd name="connsiteX4" fmla="*/ 11113 w 39688"/>
                <a:gd name="connsiteY4" fmla="*/ 50800 h 60325"/>
                <a:gd name="connsiteX5" fmla="*/ 13494 w 39688"/>
                <a:gd name="connsiteY5" fmla="*/ 50800 h 60325"/>
                <a:gd name="connsiteX6" fmla="*/ 14288 w 39688"/>
                <a:gd name="connsiteY6" fmla="*/ 45466 h 60325"/>
                <a:gd name="connsiteX7" fmla="*/ 11113 w 39688"/>
                <a:gd name="connsiteY7" fmla="*/ 31750 h 60325"/>
                <a:gd name="connsiteX8" fmla="*/ 15081 w 39688"/>
                <a:gd name="connsiteY8" fmla="*/ 18034 h 60325"/>
                <a:gd name="connsiteX9" fmla="*/ 13494 w 39688"/>
                <a:gd name="connsiteY9" fmla="*/ 13462 h 60325"/>
                <a:gd name="connsiteX10" fmla="*/ 20219 w 39688"/>
                <a:gd name="connsiteY10" fmla="*/ 0 h 60325"/>
                <a:gd name="connsiteX11" fmla="*/ 39688 w 39688"/>
                <a:gd name="connsiteY11" fmla="*/ 33256 h 60325"/>
                <a:gd name="connsiteX12" fmla="*/ 26209 w 39688"/>
                <a:gd name="connsiteY12" fmla="*/ 58778 h 60325"/>
                <a:gd name="connsiteX13" fmla="*/ 23214 w 39688"/>
                <a:gd name="connsiteY13" fmla="*/ 59552 h 60325"/>
                <a:gd name="connsiteX14" fmla="*/ 20219 w 39688"/>
                <a:gd name="connsiteY14" fmla="*/ 60325 h 60325"/>
                <a:gd name="connsiteX15" fmla="*/ 16475 w 39688"/>
                <a:gd name="connsiteY15" fmla="*/ 59552 h 60325"/>
                <a:gd name="connsiteX16" fmla="*/ 13479 w 39688"/>
                <a:gd name="connsiteY16" fmla="*/ 58778 h 60325"/>
                <a:gd name="connsiteX17" fmla="*/ 0 w 39688"/>
                <a:gd name="connsiteY17" fmla="*/ 33256 h 60325"/>
                <a:gd name="connsiteX18" fmla="*/ 20219 w 39688"/>
                <a:gd name="connsiteY18" fmla="*/ 0 h 6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688" h="60325">
                  <a:moveTo>
                    <a:pt x="13494" y="13462"/>
                  </a:moveTo>
                  <a:cubicBezTo>
                    <a:pt x="11113" y="12700"/>
                    <a:pt x="8731" y="13462"/>
                    <a:pt x="7938" y="14986"/>
                  </a:cubicBezTo>
                  <a:cubicBezTo>
                    <a:pt x="4763" y="21082"/>
                    <a:pt x="3175" y="27940"/>
                    <a:pt x="3175" y="31750"/>
                  </a:cubicBezTo>
                  <a:cubicBezTo>
                    <a:pt x="3175" y="37846"/>
                    <a:pt x="4763" y="43942"/>
                    <a:pt x="7938" y="49276"/>
                  </a:cubicBezTo>
                  <a:cubicBezTo>
                    <a:pt x="8731" y="50800"/>
                    <a:pt x="10319" y="50800"/>
                    <a:pt x="11113" y="50800"/>
                  </a:cubicBezTo>
                  <a:cubicBezTo>
                    <a:pt x="11906" y="50800"/>
                    <a:pt x="12700" y="50800"/>
                    <a:pt x="13494" y="50800"/>
                  </a:cubicBezTo>
                  <a:cubicBezTo>
                    <a:pt x="15081" y="50038"/>
                    <a:pt x="15875" y="47752"/>
                    <a:pt x="14288" y="45466"/>
                  </a:cubicBezTo>
                  <a:cubicBezTo>
                    <a:pt x="11906" y="41656"/>
                    <a:pt x="11113" y="36322"/>
                    <a:pt x="11113" y="31750"/>
                  </a:cubicBezTo>
                  <a:cubicBezTo>
                    <a:pt x="11113" y="28702"/>
                    <a:pt x="11906" y="23368"/>
                    <a:pt x="15081" y="18034"/>
                  </a:cubicBezTo>
                  <a:cubicBezTo>
                    <a:pt x="15875" y="16510"/>
                    <a:pt x="15081" y="14224"/>
                    <a:pt x="13494" y="13462"/>
                  </a:cubicBezTo>
                  <a:close/>
                  <a:moveTo>
                    <a:pt x="20219" y="0"/>
                  </a:moveTo>
                  <a:cubicBezTo>
                    <a:pt x="32949" y="0"/>
                    <a:pt x="39688" y="23202"/>
                    <a:pt x="39688" y="33256"/>
                  </a:cubicBezTo>
                  <a:cubicBezTo>
                    <a:pt x="39688" y="44857"/>
                    <a:pt x="33698" y="54911"/>
                    <a:pt x="26209" y="58778"/>
                  </a:cubicBezTo>
                  <a:cubicBezTo>
                    <a:pt x="24712" y="59552"/>
                    <a:pt x="23963" y="59552"/>
                    <a:pt x="23214" y="59552"/>
                  </a:cubicBezTo>
                  <a:cubicBezTo>
                    <a:pt x="21716" y="60325"/>
                    <a:pt x="20967" y="60325"/>
                    <a:pt x="20219" y="60325"/>
                  </a:cubicBezTo>
                  <a:cubicBezTo>
                    <a:pt x="18721" y="60325"/>
                    <a:pt x="17972" y="60325"/>
                    <a:pt x="16475" y="59552"/>
                  </a:cubicBezTo>
                  <a:cubicBezTo>
                    <a:pt x="15726" y="59552"/>
                    <a:pt x="14977" y="59552"/>
                    <a:pt x="13479" y="58778"/>
                  </a:cubicBezTo>
                  <a:cubicBezTo>
                    <a:pt x="5991" y="54911"/>
                    <a:pt x="0" y="44857"/>
                    <a:pt x="0" y="33256"/>
                  </a:cubicBezTo>
                  <a:cubicBezTo>
                    <a:pt x="0" y="23202"/>
                    <a:pt x="6740" y="0"/>
                    <a:pt x="202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265">
              <a:extLst>
                <a:ext uri="{FF2B5EF4-FFF2-40B4-BE49-F238E27FC236}">
                  <a16:creationId xmlns:a16="http://schemas.microsoft.com/office/drawing/2014/main" id="{97F23BF0-B8EB-4087-9034-C12FFE7452DF}"/>
                </a:ext>
              </a:extLst>
            </p:cNvPr>
            <p:cNvSpPr>
              <a:spLocks/>
            </p:cNvSpPr>
            <p:nvPr/>
          </p:nvSpPr>
          <p:spPr bwMode="auto">
            <a:xfrm>
              <a:off x="5935123" y="5550630"/>
              <a:ext cx="14288" cy="74613"/>
            </a:xfrm>
            <a:custGeom>
              <a:avLst/>
              <a:gdLst>
                <a:gd name="T0" fmla="*/ 4 w 19"/>
                <a:gd name="T1" fmla="*/ 0 h 97"/>
                <a:gd name="T2" fmla="*/ 0 w 19"/>
                <a:gd name="T3" fmla="*/ 84 h 97"/>
                <a:gd name="T4" fmla="*/ 3 w 19"/>
                <a:gd name="T5" fmla="*/ 93 h 97"/>
                <a:gd name="T6" fmla="*/ 16 w 19"/>
                <a:gd name="T7" fmla="*/ 93 h 97"/>
                <a:gd name="T8" fmla="*/ 19 w 19"/>
                <a:gd name="T9" fmla="*/ 84 h 97"/>
                <a:gd name="T10" fmla="*/ 15 w 19"/>
                <a:gd name="T11" fmla="*/ 0 h 97"/>
                <a:gd name="T12" fmla="*/ 4 w 19"/>
                <a:gd name="T13" fmla="*/ 0 h 97"/>
              </a:gdLst>
              <a:ahLst/>
              <a:cxnLst>
                <a:cxn ang="0">
                  <a:pos x="T0" y="T1"/>
                </a:cxn>
                <a:cxn ang="0">
                  <a:pos x="T2" y="T3"/>
                </a:cxn>
                <a:cxn ang="0">
                  <a:pos x="T4" y="T5"/>
                </a:cxn>
                <a:cxn ang="0">
                  <a:pos x="T6" y="T7"/>
                </a:cxn>
                <a:cxn ang="0">
                  <a:pos x="T8" y="T9"/>
                </a:cxn>
                <a:cxn ang="0">
                  <a:pos x="T10" y="T11"/>
                </a:cxn>
                <a:cxn ang="0">
                  <a:pos x="T12" y="T13"/>
                </a:cxn>
              </a:cxnLst>
              <a:rect l="0" t="0" r="r" b="b"/>
              <a:pathLst>
                <a:path w="19" h="97">
                  <a:moveTo>
                    <a:pt x="4" y="0"/>
                  </a:moveTo>
                  <a:lnTo>
                    <a:pt x="0" y="84"/>
                  </a:lnTo>
                  <a:cubicBezTo>
                    <a:pt x="0" y="88"/>
                    <a:pt x="1" y="91"/>
                    <a:pt x="3" y="93"/>
                  </a:cubicBezTo>
                  <a:cubicBezTo>
                    <a:pt x="6" y="97"/>
                    <a:pt x="13" y="97"/>
                    <a:pt x="16" y="93"/>
                  </a:cubicBezTo>
                  <a:cubicBezTo>
                    <a:pt x="18" y="91"/>
                    <a:pt x="19" y="88"/>
                    <a:pt x="19" y="84"/>
                  </a:cubicBezTo>
                  <a:lnTo>
                    <a:pt x="15" y="0"/>
                  </a:lnTo>
                  <a:cubicBezTo>
                    <a:pt x="11" y="1"/>
                    <a:pt x="8" y="1"/>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274">
              <a:extLst>
                <a:ext uri="{FF2B5EF4-FFF2-40B4-BE49-F238E27FC236}">
                  <a16:creationId xmlns:a16="http://schemas.microsoft.com/office/drawing/2014/main" id="{C119965C-0740-47C1-BBD5-C73D128AF8D8}"/>
                </a:ext>
              </a:extLst>
            </p:cNvPr>
            <p:cNvSpPr>
              <a:spLocks noEditPoints="1"/>
            </p:cNvSpPr>
            <p:nvPr/>
          </p:nvSpPr>
          <p:spPr bwMode="auto">
            <a:xfrm>
              <a:off x="5825586" y="5458555"/>
              <a:ext cx="74613" cy="166688"/>
            </a:xfrm>
            <a:custGeom>
              <a:avLst/>
              <a:gdLst>
                <a:gd name="T0" fmla="*/ 55 w 97"/>
                <a:gd name="T1" fmla="*/ 107 h 219"/>
                <a:gd name="T2" fmla="*/ 71 w 97"/>
                <a:gd name="T3" fmla="*/ 70 h 219"/>
                <a:gd name="T4" fmla="*/ 81 w 97"/>
                <a:gd name="T5" fmla="*/ 64 h 219"/>
                <a:gd name="T6" fmla="*/ 62 w 97"/>
                <a:gd name="T7" fmla="*/ 152 h 219"/>
                <a:gd name="T8" fmla="*/ 58 w 97"/>
                <a:gd name="T9" fmla="*/ 126 h 219"/>
                <a:gd name="T10" fmla="*/ 78 w 97"/>
                <a:gd name="T11" fmla="*/ 114 h 219"/>
                <a:gd name="T12" fmla="*/ 62 w 97"/>
                <a:gd name="T13" fmla="*/ 152 h 219"/>
                <a:gd name="T14" fmla="*/ 55 w 97"/>
                <a:gd name="T15" fmla="*/ 203 h 219"/>
                <a:gd name="T16" fmla="*/ 71 w 97"/>
                <a:gd name="T17" fmla="*/ 166 h 219"/>
                <a:gd name="T18" fmla="*/ 81 w 97"/>
                <a:gd name="T19" fmla="*/ 160 h 219"/>
                <a:gd name="T20" fmla="*/ 48 w 97"/>
                <a:gd name="T21" fmla="*/ 63 h 219"/>
                <a:gd name="T22" fmla="*/ 43 w 97"/>
                <a:gd name="T23" fmla="*/ 29 h 219"/>
                <a:gd name="T24" fmla="*/ 48 w 97"/>
                <a:gd name="T25" fmla="*/ 20 h 219"/>
                <a:gd name="T26" fmla="*/ 51 w 97"/>
                <a:gd name="T27" fmla="*/ 24 h 219"/>
                <a:gd name="T28" fmla="*/ 61 w 97"/>
                <a:gd name="T29" fmla="*/ 48 h 219"/>
                <a:gd name="T30" fmla="*/ 48 w 97"/>
                <a:gd name="T31" fmla="*/ 78 h 219"/>
                <a:gd name="T32" fmla="*/ 48 w 97"/>
                <a:gd name="T33" fmla="*/ 72 h 219"/>
                <a:gd name="T34" fmla="*/ 48 w 97"/>
                <a:gd name="T35" fmla="*/ 78 h 219"/>
                <a:gd name="T36" fmla="*/ 47 w 97"/>
                <a:gd name="T37" fmla="*/ 122 h 219"/>
                <a:gd name="T38" fmla="*/ 50 w 97"/>
                <a:gd name="T39" fmla="*/ 122 h 219"/>
                <a:gd name="T40" fmla="*/ 48 w 97"/>
                <a:gd name="T41" fmla="*/ 174 h 219"/>
                <a:gd name="T42" fmla="*/ 48 w 97"/>
                <a:gd name="T43" fmla="*/ 169 h 219"/>
                <a:gd name="T44" fmla="*/ 48 w 97"/>
                <a:gd name="T45" fmla="*/ 174 h 219"/>
                <a:gd name="T46" fmla="*/ 35 w 97"/>
                <a:gd name="T47" fmla="*/ 104 h 219"/>
                <a:gd name="T48" fmla="*/ 19 w 97"/>
                <a:gd name="T49" fmla="*/ 66 h 219"/>
                <a:gd name="T50" fmla="*/ 38 w 97"/>
                <a:gd name="T51" fmla="*/ 78 h 219"/>
                <a:gd name="T52" fmla="*/ 41 w 97"/>
                <a:gd name="T53" fmla="*/ 155 h 219"/>
                <a:gd name="T54" fmla="*/ 16 w 97"/>
                <a:gd name="T55" fmla="*/ 112 h 219"/>
                <a:gd name="T56" fmla="*/ 26 w 97"/>
                <a:gd name="T57" fmla="*/ 118 h 219"/>
                <a:gd name="T58" fmla="*/ 41 w 97"/>
                <a:gd name="T59" fmla="*/ 155 h 219"/>
                <a:gd name="T60" fmla="*/ 35 w 97"/>
                <a:gd name="T61" fmla="*/ 200 h 219"/>
                <a:gd name="T62" fmla="*/ 19 w 97"/>
                <a:gd name="T63" fmla="*/ 162 h 219"/>
                <a:gd name="T64" fmla="*/ 38 w 97"/>
                <a:gd name="T65" fmla="*/ 174 h 219"/>
                <a:gd name="T66" fmla="*/ 88 w 97"/>
                <a:gd name="T67" fmla="*/ 50 h 219"/>
                <a:gd name="T68" fmla="*/ 79 w 97"/>
                <a:gd name="T69" fmla="*/ 49 h 219"/>
                <a:gd name="T70" fmla="*/ 67 w 97"/>
                <a:gd name="T71" fmla="*/ 61 h 219"/>
                <a:gd name="T72" fmla="*/ 61 w 97"/>
                <a:gd name="T73" fmla="*/ 23 h 219"/>
                <a:gd name="T74" fmla="*/ 53 w 97"/>
                <a:gd name="T75" fmla="*/ 4 h 219"/>
                <a:gd name="T76" fmla="*/ 44 w 97"/>
                <a:gd name="T77" fmla="*/ 4 h 219"/>
                <a:gd name="T78" fmla="*/ 36 w 97"/>
                <a:gd name="T79" fmla="*/ 23 h 219"/>
                <a:gd name="T80" fmla="*/ 29 w 97"/>
                <a:gd name="T81" fmla="*/ 61 h 219"/>
                <a:gd name="T82" fmla="*/ 18 w 97"/>
                <a:gd name="T83" fmla="*/ 49 h 219"/>
                <a:gd name="T84" fmla="*/ 9 w 97"/>
                <a:gd name="T85" fmla="*/ 50 h 219"/>
                <a:gd name="T86" fmla="*/ 9 w 97"/>
                <a:gd name="T87" fmla="*/ 98 h 219"/>
                <a:gd name="T88" fmla="*/ 9 w 97"/>
                <a:gd name="T89" fmla="*/ 146 h 219"/>
                <a:gd name="T90" fmla="*/ 41 w 97"/>
                <a:gd name="T91" fmla="*/ 216 h 219"/>
                <a:gd name="T92" fmla="*/ 46 w 97"/>
                <a:gd name="T93" fmla="*/ 218 h 219"/>
                <a:gd name="T94" fmla="*/ 50 w 97"/>
                <a:gd name="T95" fmla="*/ 218 h 219"/>
                <a:gd name="T96" fmla="*/ 55 w 97"/>
                <a:gd name="T97" fmla="*/ 216 h 219"/>
                <a:gd name="T98" fmla="*/ 88 w 97"/>
                <a:gd name="T99" fmla="*/ 146 h 219"/>
                <a:gd name="T100" fmla="*/ 88 w 97"/>
                <a:gd name="T101" fmla="*/ 98 h 219"/>
                <a:gd name="T102" fmla="*/ 88 w 97"/>
                <a:gd name="T103"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 h="219">
                  <a:moveTo>
                    <a:pt x="62" y="104"/>
                  </a:moveTo>
                  <a:cubicBezTo>
                    <a:pt x="60" y="105"/>
                    <a:pt x="57" y="106"/>
                    <a:pt x="55" y="107"/>
                  </a:cubicBezTo>
                  <a:cubicBezTo>
                    <a:pt x="55" y="95"/>
                    <a:pt x="55" y="82"/>
                    <a:pt x="58" y="78"/>
                  </a:cubicBezTo>
                  <a:cubicBezTo>
                    <a:pt x="63" y="73"/>
                    <a:pt x="67" y="71"/>
                    <a:pt x="71" y="70"/>
                  </a:cubicBezTo>
                  <a:cubicBezTo>
                    <a:pt x="73" y="69"/>
                    <a:pt x="76" y="68"/>
                    <a:pt x="78" y="66"/>
                  </a:cubicBezTo>
                  <a:cubicBezTo>
                    <a:pt x="79" y="65"/>
                    <a:pt x="80" y="64"/>
                    <a:pt x="81" y="64"/>
                  </a:cubicBezTo>
                  <a:cubicBezTo>
                    <a:pt x="83" y="86"/>
                    <a:pt x="74" y="101"/>
                    <a:pt x="62" y="104"/>
                  </a:cubicBezTo>
                  <a:close/>
                  <a:moveTo>
                    <a:pt x="62" y="152"/>
                  </a:moveTo>
                  <a:cubicBezTo>
                    <a:pt x="60" y="153"/>
                    <a:pt x="57" y="154"/>
                    <a:pt x="55" y="155"/>
                  </a:cubicBezTo>
                  <a:cubicBezTo>
                    <a:pt x="55" y="143"/>
                    <a:pt x="55" y="130"/>
                    <a:pt x="58" y="126"/>
                  </a:cubicBezTo>
                  <a:cubicBezTo>
                    <a:pt x="63" y="121"/>
                    <a:pt x="67" y="119"/>
                    <a:pt x="71" y="118"/>
                  </a:cubicBezTo>
                  <a:cubicBezTo>
                    <a:pt x="73" y="117"/>
                    <a:pt x="76" y="116"/>
                    <a:pt x="78" y="114"/>
                  </a:cubicBezTo>
                  <a:cubicBezTo>
                    <a:pt x="79" y="113"/>
                    <a:pt x="80" y="113"/>
                    <a:pt x="81" y="112"/>
                  </a:cubicBezTo>
                  <a:cubicBezTo>
                    <a:pt x="83" y="134"/>
                    <a:pt x="74" y="149"/>
                    <a:pt x="62" y="152"/>
                  </a:cubicBezTo>
                  <a:close/>
                  <a:moveTo>
                    <a:pt x="62" y="200"/>
                  </a:moveTo>
                  <a:cubicBezTo>
                    <a:pt x="60" y="201"/>
                    <a:pt x="57" y="202"/>
                    <a:pt x="55" y="203"/>
                  </a:cubicBezTo>
                  <a:cubicBezTo>
                    <a:pt x="55" y="191"/>
                    <a:pt x="55" y="178"/>
                    <a:pt x="58" y="174"/>
                  </a:cubicBezTo>
                  <a:cubicBezTo>
                    <a:pt x="63" y="169"/>
                    <a:pt x="67" y="168"/>
                    <a:pt x="71" y="166"/>
                  </a:cubicBezTo>
                  <a:cubicBezTo>
                    <a:pt x="73" y="165"/>
                    <a:pt x="76" y="164"/>
                    <a:pt x="78" y="162"/>
                  </a:cubicBezTo>
                  <a:cubicBezTo>
                    <a:pt x="79" y="162"/>
                    <a:pt x="80" y="161"/>
                    <a:pt x="81" y="160"/>
                  </a:cubicBezTo>
                  <a:cubicBezTo>
                    <a:pt x="83" y="182"/>
                    <a:pt x="74" y="197"/>
                    <a:pt x="62" y="200"/>
                  </a:cubicBezTo>
                  <a:close/>
                  <a:moveTo>
                    <a:pt x="48" y="63"/>
                  </a:moveTo>
                  <a:cubicBezTo>
                    <a:pt x="40" y="63"/>
                    <a:pt x="35" y="55"/>
                    <a:pt x="35" y="48"/>
                  </a:cubicBezTo>
                  <a:cubicBezTo>
                    <a:pt x="35" y="39"/>
                    <a:pt x="39" y="34"/>
                    <a:pt x="43" y="29"/>
                  </a:cubicBezTo>
                  <a:cubicBezTo>
                    <a:pt x="44" y="27"/>
                    <a:pt x="45" y="26"/>
                    <a:pt x="46" y="24"/>
                  </a:cubicBezTo>
                  <a:cubicBezTo>
                    <a:pt x="47" y="23"/>
                    <a:pt x="48" y="22"/>
                    <a:pt x="48" y="20"/>
                  </a:cubicBezTo>
                  <a:cubicBezTo>
                    <a:pt x="49" y="22"/>
                    <a:pt x="50" y="23"/>
                    <a:pt x="51" y="24"/>
                  </a:cubicBezTo>
                  <a:lnTo>
                    <a:pt x="51" y="24"/>
                  </a:lnTo>
                  <a:cubicBezTo>
                    <a:pt x="51" y="26"/>
                    <a:pt x="52" y="27"/>
                    <a:pt x="54" y="29"/>
                  </a:cubicBezTo>
                  <a:cubicBezTo>
                    <a:pt x="57" y="34"/>
                    <a:pt x="61" y="39"/>
                    <a:pt x="61" y="48"/>
                  </a:cubicBezTo>
                  <a:cubicBezTo>
                    <a:pt x="61" y="55"/>
                    <a:pt x="57" y="63"/>
                    <a:pt x="48" y="63"/>
                  </a:cubicBezTo>
                  <a:close/>
                  <a:moveTo>
                    <a:pt x="48" y="78"/>
                  </a:moveTo>
                  <a:cubicBezTo>
                    <a:pt x="48" y="75"/>
                    <a:pt x="47" y="74"/>
                    <a:pt x="46" y="72"/>
                  </a:cubicBezTo>
                  <a:cubicBezTo>
                    <a:pt x="47" y="72"/>
                    <a:pt x="47" y="72"/>
                    <a:pt x="48" y="72"/>
                  </a:cubicBezTo>
                  <a:cubicBezTo>
                    <a:pt x="49" y="72"/>
                    <a:pt x="50" y="72"/>
                    <a:pt x="51" y="72"/>
                  </a:cubicBezTo>
                  <a:cubicBezTo>
                    <a:pt x="50" y="74"/>
                    <a:pt x="49" y="75"/>
                    <a:pt x="48" y="78"/>
                  </a:cubicBezTo>
                  <a:close/>
                  <a:moveTo>
                    <a:pt x="48" y="126"/>
                  </a:moveTo>
                  <a:cubicBezTo>
                    <a:pt x="48" y="124"/>
                    <a:pt x="47" y="123"/>
                    <a:pt x="47" y="122"/>
                  </a:cubicBezTo>
                  <a:cubicBezTo>
                    <a:pt x="47" y="122"/>
                    <a:pt x="48" y="121"/>
                    <a:pt x="48" y="121"/>
                  </a:cubicBezTo>
                  <a:cubicBezTo>
                    <a:pt x="49" y="121"/>
                    <a:pt x="49" y="122"/>
                    <a:pt x="50" y="122"/>
                  </a:cubicBezTo>
                  <a:cubicBezTo>
                    <a:pt x="49" y="123"/>
                    <a:pt x="49" y="124"/>
                    <a:pt x="48" y="126"/>
                  </a:cubicBezTo>
                  <a:close/>
                  <a:moveTo>
                    <a:pt x="48" y="174"/>
                  </a:moveTo>
                  <a:cubicBezTo>
                    <a:pt x="48" y="173"/>
                    <a:pt x="47" y="171"/>
                    <a:pt x="47" y="170"/>
                  </a:cubicBezTo>
                  <a:cubicBezTo>
                    <a:pt x="47" y="170"/>
                    <a:pt x="48" y="169"/>
                    <a:pt x="48" y="169"/>
                  </a:cubicBezTo>
                  <a:cubicBezTo>
                    <a:pt x="49" y="169"/>
                    <a:pt x="49" y="170"/>
                    <a:pt x="50" y="170"/>
                  </a:cubicBezTo>
                  <a:cubicBezTo>
                    <a:pt x="49" y="171"/>
                    <a:pt x="49" y="173"/>
                    <a:pt x="48" y="174"/>
                  </a:cubicBezTo>
                  <a:close/>
                  <a:moveTo>
                    <a:pt x="41" y="107"/>
                  </a:moveTo>
                  <a:cubicBezTo>
                    <a:pt x="39" y="106"/>
                    <a:pt x="37" y="105"/>
                    <a:pt x="35" y="104"/>
                  </a:cubicBezTo>
                  <a:cubicBezTo>
                    <a:pt x="23" y="101"/>
                    <a:pt x="13" y="86"/>
                    <a:pt x="16" y="64"/>
                  </a:cubicBezTo>
                  <a:cubicBezTo>
                    <a:pt x="17" y="64"/>
                    <a:pt x="18" y="65"/>
                    <a:pt x="19" y="66"/>
                  </a:cubicBezTo>
                  <a:cubicBezTo>
                    <a:pt x="21" y="68"/>
                    <a:pt x="24" y="69"/>
                    <a:pt x="26" y="70"/>
                  </a:cubicBezTo>
                  <a:cubicBezTo>
                    <a:pt x="30" y="71"/>
                    <a:pt x="34" y="73"/>
                    <a:pt x="38" y="78"/>
                  </a:cubicBezTo>
                  <a:cubicBezTo>
                    <a:pt x="41" y="82"/>
                    <a:pt x="42" y="95"/>
                    <a:pt x="41" y="107"/>
                  </a:cubicBezTo>
                  <a:close/>
                  <a:moveTo>
                    <a:pt x="41" y="155"/>
                  </a:moveTo>
                  <a:cubicBezTo>
                    <a:pt x="39" y="154"/>
                    <a:pt x="37" y="153"/>
                    <a:pt x="35" y="152"/>
                  </a:cubicBezTo>
                  <a:cubicBezTo>
                    <a:pt x="23" y="149"/>
                    <a:pt x="13" y="134"/>
                    <a:pt x="16" y="112"/>
                  </a:cubicBezTo>
                  <a:cubicBezTo>
                    <a:pt x="17" y="113"/>
                    <a:pt x="18" y="113"/>
                    <a:pt x="19" y="114"/>
                  </a:cubicBezTo>
                  <a:cubicBezTo>
                    <a:pt x="21" y="116"/>
                    <a:pt x="24" y="117"/>
                    <a:pt x="26" y="118"/>
                  </a:cubicBezTo>
                  <a:cubicBezTo>
                    <a:pt x="30" y="119"/>
                    <a:pt x="34" y="121"/>
                    <a:pt x="38" y="126"/>
                  </a:cubicBezTo>
                  <a:cubicBezTo>
                    <a:pt x="41" y="130"/>
                    <a:pt x="42" y="143"/>
                    <a:pt x="41" y="155"/>
                  </a:cubicBezTo>
                  <a:close/>
                  <a:moveTo>
                    <a:pt x="41" y="203"/>
                  </a:moveTo>
                  <a:cubicBezTo>
                    <a:pt x="39" y="202"/>
                    <a:pt x="37" y="201"/>
                    <a:pt x="35" y="200"/>
                  </a:cubicBezTo>
                  <a:cubicBezTo>
                    <a:pt x="23" y="197"/>
                    <a:pt x="13" y="182"/>
                    <a:pt x="16" y="160"/>
                  </a:cubicBezTo>
                  <a:cubicBezTo>
                    <a:pt x="17" y="161"/>
                    <a:pt x="18" y="162"/>
                    <a:pt x="19" y="162"/>
                  </a:cubicBezTo>
                  <a:cubicBezTo>
                    <a:pt x="21" y="164"/>
                    <a:pt x="24" y="165"/>
                    <a:pt x="26" y="166"/>
                  </a:cubicBezTo>
                  <a:cubicBezTo>
                    <a:pt x="30" y="168"/>
                    <a:pt x="34" y="169"/>
                    <a:pt x="38" y="174"/>
                  </a:cubicBezTo>
                  <a:cubicBezTo>
                    <a:pt x="41" y="178"/>
                    <a:pt x="42" y="191"/>
                    <a:pt x="41" y="203"/>
                  </a:cubicBezTo>
                  <a:close/>
                  <a:moveTo>
                    <a:pt x="88" y="50"/>
                  </a:moveTo>
                  <a:cubicBezTo>
                    <a:pt x="87" y="48"/>
                    <a:pt x="85" y="46"/>
                    <a:pt x="83" y="46"/>
                  </a:cubicBezTo>
                  <a:cubicBezTo>
                    <a:pt x="82" y="46"/>
                    <a:pt x="79" y="47"/>
                    <a:pt x="79" y="49"/>
                  </a:cubicBezTo>
                  <a:cubicBezTo>
                    <a:pt x="78" y="51"/>
                    <a:pt x="76" y="56"/>
                    <a:pt x="72" y="58"/>
                  </a:cubicBezTo>
                  <a:cubicBezTo>
                    <a:pt x="71" y="59"/>
                    <a:pt x="69" y="60"/>
                    <a:pt x="67" y="61"/>
                  </a:cubicBezTo>
                  <a:cubicBezTo>
                    <a:pt x="70" y="57"/>
                    <a:pt x="71" y="53"/>
                    <a:pt x="71" y="48"/>
                  </a:cubicBezTo>
                  <a:cubicBezTo>
                    <a:pt x="71" y="35"/>
                    <a:pt x="65" y="28"/>
                    <a:pt x="61" y="23"/>
                  </a:cubicBezTo>
                  <a:cubicBezTo>
                    <a:pt x="60" y="22"/>
                    <a:pt x="59" y="21"/>
                    <a:pt x="59" y="20"/>
                  </a:cubicBezTo>
                  <a:cubicBezTo>
                    <a:pt x="55" y="14"/>
                    <a:pt x="53" y="4"/>
                    <a:pt x="53" y="4"/>
                  </a:cubicBezTo>
                  <a:cubicBezTo>
                    <a:pt x="52" y="1"/>
                    <a:pt x="51" y="0"/>
                    <a:pt x="48" y="0"/>
                  </a:cubicBezTo>
                  <a:cubicBezTo>
                    <a:pt x="46" y="0"/>
                    <a:pt x="44" y="1"/>
                    <a:pt x="44" y="4"/>
                  </a:cubicBezTo>
                  <a:cubicBezTo>
                    <a:pt x="44" y="4"/>
                    <a:pt x="42" y="14"/>
                    <a:pt x="38" y="20"/>
                  </a:cubicBezTo>
                  <a:cubicBezTo>
                    <a:pt x="37" y="21"/>
                    <a:pt x="37" y="22"/>
                    <a:pt x="36" y="23"/>
                  </a:cubicBezTo>
                  <a:cubicBezTo>
                    <a:pt x="32" y="28"/>
                    <a:pt x="26" y="35"/>
                    <a:pt x="26" y="48"/>
                  </a:cubicBezTo>
                  <a:cubicBezTo>
                    <a:pt x="26" y="53"/>
                    <a:pt x="27" y="57"/>
                    <a:pt x="29" y="61"/>
                  </a:cubicBezTo>
                  <a:cubicBezTo>
                    <a:pt x="27" y="60"/>
                    <a:pt x="26" y="59"/>
                    <a:pt x="24" y="58"/>
                  </a:cubicBezTo>
                  <a:cubicBezTo>
                    <a:pt x="21" y="56"/>
                    <a:pt x="19" y="51"/>
                    <a:pt x="18" y="49"/>
                  </a:cubicBezTo>
                  <a:cubicBezTo>
                    <a:pt x="17" y="47"/>
                    <a:pt x="15" y="46"/>
                    <a:pt x="13" y="46"/>
                  </a:cubicBezTo>
                  <a:cubicBezTo>
                    <a:pt x="11" y="46"/>
                    <a:pt x="10" y="48"/>
                    <a:pt x="9" y="50"/>
                  </a:cubicBezTo>
                  <a:cubicBezTo>
                    <a:pt x="4" y="69"/>
                    <a:pt x="6" y="84"/>
                    <a:pt x="11" y="95"/>
                  </a:cubicBezTo>
                  <a:cubicBezTo>
                    <a:pt x="10" y="96"/>
                    <a:pt x="9" y="97"/>
                    <a:pt x="9" y="98"/>
                  </a:cubicBezTo>
                  <a:cubicBezTo>
                    <a:pt x="4" y="117"/>
                    <a:pt x="6" y="132"/>
                    <a:pt x="11" y="143"/>
                  </a:cubicBezTo>
                  <a:cubicBezTo>
                    <a:pt x="10" y="144"/>
                    <a:pt x="9" y="145"/>
                    <a:pt x="9" y="146"/>
                  </a:cubicBezTo>
                  <a:cubicBezTo>
                    <a:pt x="0" y="181"/>
                    <a:pt x="14" y="204"/>
                    <a:pt x="32" y="209"/>
                  </a:cubicBezTo>
                  <a:cubicBezTo>
                    <a:pt x="38" y="211"/>
                    <a:pt x="41" y="216"/>
                    <a:pt x="41" y="216"/>
                  </a:cubicBezTo>
                  <a:cubicBezTo>
                    <a:pt x="42" y="218"/>
                    <a:pt x="44" y="219"/>
                    <a:pt x="45" y="219"/>
                  </a:cubicBezTo>
                  <a:cubicBezTo>
                    <a:pt x="46" y="219"/>
                    <a:pt x="46" y="219"/>
                    <a:pt x="46" y="218"/>
                  </a:cubicBezTo>
                  <a:cubicBezTo>
                    <a:pt x="47" y="218"/>
                    <a:pt x="48" y="218"/>
                    <a:pt x="48" y="217"/>
                  </a:cubicBezTo>
                  <a:cubicBezTo>
                    <a:pt x="49" y="218"/>
                    <a:pt x="50" y="218"/>
                    <a:pt x="50" y="218"/>
                  </a:cubicBezTo>
                  <a:cubicBezTo>
                    <a:pt x="51" y="218"/>
                    <a:pt x="51" y="219"/>
                    <a:pt x="51" y="219"/>
                  </a:cubicBezTo>
                  <a:cubicBezTo>
                    <a:pt x="53" y="219"/>
                    <a:pt x="55" y="218"/>
                    <a:pt x="55" y="216"/>
                  </a:cubicBezTo>
                  <a:cubicBezTo>
                    <a:pt x="55" y="216"/>
                    <a:pt x="59" y="211"/>
                    <a:pt x="65" y="209"/>
                  </a:cubicBezTo>
                  <a:cubicBezTo>
                    <a:pt x="83" y="204"/>
                    <a:pt x="97" y="181"/>
                    <a:pt x="88" y="146"/>
                  </a:cubicBezTo>
                  <a:cubicBezTo>
                    <a:pt x="87" y="145"/>
                    <a:pt x="86" y="144"/>
                    <a:pt x="85" y="143"/>
                  </a:cubicBezTo>
                  <a:cubicBezTo>
                    <a:pt x="91" y="132"/>
                    <a:pt x="93" y="117"/>
                    <a:pt x="88" y="98"/>
                  </a:cubicBezTo>
                  <a:cubicBezTo>
                    <a:pt x="87" y="97"/>
                    <a:pt x="86" y="96"/>
                    <a:pt x="85" y="95"/>
                  </a:cubicBezTo>
                  <a:cubicBezTo>
                    <a:pt x="91" y="84"/>
                    <a:pt x="93" y="69"/>
                    <a:pt x="88" y="5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275">
              <a:extLst>
                <a:ext uri="{FF2B5EF4-FFF2-40B4-BE49-F238E27FC236}">
                  <a16:creationId xmlns:a16="http://schemas.microsoft.com/office/drawing/2014/main" id="{922F6E4D-CF13-4B02-A783-694130B7A652}"/>
                </a:ext>
              </a:extLst>
            </p:cNvPr>
            <p:cNvSpPr>
              <a:spLocks noEditPoints="1"/>
            </p:cNvSpPr>
            <p:nvPr/>
          </p:nvSpPr>
          <p:spPr bwMode="auto">
            <a:xfrm>
              <a:off x="5755736" y="5474430"/>
              <a:ext cx="55563" cy="152400"/>
            </a:xfrm>
            <a:custGeom>
              <a:avLst/>
              <a:gdLst>
                <a:gd name="T0" fmla="*/ 45 w 73"/>
                <a:gd name="T1" fmla="*/ 85 h 201"/>
                <a:gd name="T2" fmla="*/ 45 w 73"/>
                <a:gd name="T3" fmla="*/ 85 h 201"/>
                <a:gd name="T4" fmla="*/ 41 w 73"/>
                <a:gd name="T5" fmla="*/ 87 h 201"/>
                <a:gd name="T6" fmla="*/ 36 w 73"/>
                <a:gd name="T7" fmla="*/ 87 h 201"/>
                <a:gd name="T8" fmla="*/ 32 w 73"/>
                <a:gd name="T9" fmla="*/ 87 h 201"/>
                <a:gd name="T10" fmla="*/ 28 w 73"/>
                <a:gd name="T11" fmla="*/ 85 h 201"/>
                <a:gd name="T12" fmla="*/ 28 w 73"/>
                <a:gd name="T13" fmla="*/ 85 h 201"/>
                <a:gd name="T14" fmla="*/ 10 w 73"/>
                <a:gd name="T15" fmla="*/ 52 h 201"/>
                <a:gd name="T16" fmla="*/ 11 w 73"/>
                <a:gd name="T17" fmla="*/ 19 h 201"/>
                <a:gd name="T18" fmla="*/ 12 w 73"/>
                <a:gd name="T19" fmla="*/ 16 h 201"/>
                <a:gd name="T20" fmla="*/ 13 w 73"/>
                <a:gd name="T21" fmla="*/ 18 h 201"/>
                <a:gd name="T22" fmla="*/ 20 w 73"/>
                <a:gd name="T23" fmla="*/ 61 h 201"/>
                <a:gd name="T24" fmla="*/ 28 w 73"/>
                <a:gd name="T25" fmla="*/ 65 h 201"/>
                <a:gd name="T26" fmla="*/ 32 w 73"/>
                <a:gd name="T27" fmla="*/ 60 h 201"/>
                <a:gd name="T28" fmla="*/ 36 w 73"/>
                <a:gd name="T29" fmla="*/ 11 h 201"/>
                <a:gd name="T30" fmla="*/ 36 w 73"/>
                <a:gd name="T31" fmla="*/ 9 h 201"/>
                <a:gd name="T32" fmla="*/ 37 w 73"/>
                <a:gd name="T33" fmla="*/ 12 h 201"/>
                <a:gd name="T34" fmla="*/ 41 w 73"/>
                <a:gd name="T35" fmla="*/ 60 h 201"/>
                <a:gd name="T36" fmla="*/ 45 w 73"/>
                <a:gd name="T37" fmla="*/ 65 h 201"/>
                <a:gd name="T38" fmla="*/ 53 w 73"/>
                <a:gd name="T39" fmla="*/ 61 h 201"/>
                <a:gd name="T40" fmla="*/ 60 w 73"/>
                <a:gd name="T41" fmla="*/ 19 h 201"/>
                <a:gd name="T42" fmla="*/ 61 w 73"/>
                <a:gd name="T43" fmla="*/ 16 h 201"/>
                <a:gd name="T44" fmla="*/ 62 w 73"/>
                <a:gd name="T45" fmla="*/ 19 h 201"/>
                <a:gd name="T46" fmla="*/ 63 w 73"/>
                <a:gd name="T47" fmla="*/ 52 h 201"/>
                <a:gd name="T48" fmla="*/ 45 w 73"/>
                <a:gd name="T49" fmla="*/ 85 h 201"/>
                <a:gd name="T50" fmla="*/ 43 w 73"/>
                <a:gd name="T51" fmla="*/ 189 h 201"/>
                <a:gd name="T52" fmla="*/ 30 w 73"/>
                <a:gd name="T53" fmla="*/ 189 h 201"/>
                <a:gd name="T54" fmla="*/ 27 w 73"/>
                <a:gd name="T55" fmla="*/ 180 h 201"/>
                <a:gd name="T56" fmla="*/ 31 w 73"/>
                <a:gd name="T57" fmla="*/ 96 h 201"/>
                <a:gd name="T58" fmla="*/ 42 w 73"/>
                <a:gd name="T59" fmla="*/ 96 h 201"/>
                <a:gd name="T60" fmla="*/ 46 w 73"/>
                <a:gd name="T61" fmla="*/ 180 h 201"/>
                <a:gd name="T62" fmla="*/ 43 w 73"/>
                <a:gd name="T63" fmla="*/ 189 h 201"/>
                <a:gd name="T64" fmla="*/ 61 w 73"/>
                <a:gd name="T65" fmla="*/ 7 h 201"/>
                <a:gd name="T66" fmla="*/ 51 w 73"/>
                <a:gd name="T67" fmla="*/ 19 h 201"/>
                <a:gd name="T68" fmla="*/ 49 w 73"/>
                <a:gd name="T69" fmla="*/ 46 h 201"/>
                <a:gd name="T70" fmla="*/ 47 w 73"/>
                <a:gd name="T71" fmla="*/ 11 h 201"/>
                <a:gd name="T72" fmla="*/ 36 w 73"/>
                <a:gd name="T73" fmla="*/ 0 h 201"/>
                <a:gd name="T74" fmla="*/ 26 w 73"/>
                <a:gd name="T75" fmla="*/ 11 h 201"/>
                <a:gd name="T76" fmla="*/ 24 w 73"/>
                <a:gd name="T77" fmla="*/ 46 h 201"/>
                <a:gd name="T78" fmla="*/ 22 w 73"/>
                <a:gd name="T79" fmla="*/ 19 h 201"/>
                <a:gd name="T80" fmla="*/ 12 w 73"/>
                <a:gd name="T81" fmla="*/ 7 h 201"/>
                <a:gd name="T82" fmla="*/ 2 w 73"/>
                <a:gd name="T83" fmla="*/ 18 h 201"/>
                <a:gd name="T84" fmla="*/ 0 w 73"/>
                <a:gd name="T85" fmla="*/ 52 h 201"/>
                <a:gd name="T86" fmla="*/ 22 w 73"/>
                <a:gd name="T87" fmla="*/ 92 h 201"/>
                <a:gd name="T88" fmla="*/ 17 w 73"/>
                <a:gd name="T89" fmla="*/ 179 h 201"/>
                <a:gd name="T90" fmla="*/ 23 w 73"/>
                <a:gd name="T91" fmla="*/ 196 h 201"/>
                <a:gd name="T92" fmla="*/ 36 w 73"/>
                <a:gd name="T93" fmla="*/ 201 h 201"/>
                <a:gd name="T94" fmla="*/ 50 w 73"/>
                <a:gd name="T95" fmla="*/ 196 h 201"/>
                <a:gd name="T96" fmla="*/ 55 w 73"/>
                <a:gd name="T97" fmla="*/ 179 h 201"/>
                <a:gd name="T98" fmla="*/ 51 w 73"/>
                <a:gd name="T99" fmla="*/ 92 h 201"/>
                <a:gd name="T100" fmla="*/ 73 w 73"/>
                <a:gd name="T101" fmla="*/ 52 h 201"/>
                <a:gd name="T102" fmla="*/ 71 w 73"/>
                <a:gd name="T103" fmla="*/ 19 h 201"/>
                <a:gd name="T104" fmla="*/ 61 w 73"/>
                <a:gd name="T105" fmla="*/ 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201">
                  <a:moveTo>
                    <a:pt x="45" y="85"/>
                  </a:moveTo>
                  <a:cubicBezTo>
                    <a:pt x="45" y="85"/>
                    <a:pt x="45" y="85"/>
                    <a:pt x="45" y="85"/>
                  </a:cubicBezTo>
                  <a:cubicBezTo>
                    <a:pt x="43" y="86"/>
                    <a:pt x="42" y="86"/>
                    <a:pt x="41" y="87"/>
                  </a:cubicBezTo>
                  <a:cubicBezTo>
                    <a:pt x="39" y="87"/>
                    <a:pt x="38" y="87"/>
                    <a:pt x="36" y="87"/>
                  </a:cubicBezTo>
                  <a:cubicBezTo>
                    <a:pt x="35" y="87"/>
                    <a:pt x="34" y="87"/>
                    <a:pt x="32" y="87"/>
                  </a:cubicBezTo>
                  <a:cubicBezTo>
                    <a:pt x="31" y="86"/>
                    <a:pt x="30" y="86"/>
                    <a:pt x="28" y="85"/>
                  </a:cubicBezTo>
                  <a:cubicBezTo>
                    <a:pt x="28" y="85"/>
                    <a:pt x="28" y="85"/>
                    <a:pt x="28" y="85"/>
                  </a:cubicBezTo>
                  <a:cubicBezTo>
                    <a:pt x="18" y="81"/>
                    <a:pt x="10" y="68"/>
                    <a:pt x="10" y="52"/>
                  </a:cubicBezTo>
                  <a:lnTo>
                    <a:pt x="11" y="19"/>
                  </a:lnTo>
                  <a:cubicBezTo>
                    <a:pt x="11" y="17"/>
                    <a:pt x="12" y="16"/>
                    <a:pt x="12" y="16"/>
                  </a:cubicBezTo>
                  <a:cubicBezTo>
                    <a:pt x="12" y="16"/>
                    <a:pt x="13" y="17"/>
                    <a:pt x="13" y="18"/>
                  </a:cubicBezTo>
                  <a:cubicBezTo>
                    <a:pt x="13" y="24"/>
                    <a:pt x="12" y="52"/>
                    <a:pt x="20" y="61"/>
                  </a:cubicBezTo>
                  <a:cubicBezTo>
                    <a:pt x="22" y="64"/>
                    <a:pt x="25" y="65"/>
                    <a:pt x="28" y="65"/>
                  </a:cubicBezTo>
                  <a:cubicBezTo>
                    <a:pt x="30" y="65"/>
                    <a:pt x="32" y="63"/>
                    <a:pt x="32" y="60"/>
                  </a:cubicBezTo>
                  <a:lnTo>
                    <a:pt x="36" y="11"/>
                  </a:lnTo>
                  <a:cubicBezTo>
                    <a:pt x="36" y="10"/>
                    <a:pt x="36" y="9"/>
                    <a:pt x="36" y="9"/>
                  </a:cubicBezTo>
                  <a:cubicBezTo>
                    <a:pt x="37" y="9"/>
                    <a:pt x="37" y="10"/>
                    <a:pt x="37" y="12"/>
                  </a:cubicBezTo>
                  <a:lnTo>
                    <a:pt x="41" y="60"/>
                  </a:lnTo>
                  <a:cubicBezTo>
                    <a:pt x="41" y="63"/>
                    <a:pt x="43" y="65"/>
                    <a:pt x="45" y="65"/>
                  </a:cubicBezTo>
                  <a:cubicBezTo>
                    <a:pt x="48" y="65"/>
                    <a:pt x="51" y="64"/>
                    <a:pt x="53" y="61"/>
                  </a:cubicBezTo>
                  <a:cubicBezTo>
                    <a:pt x="61" y="52"/>
                    <a:pt x="60" y="24"/>
                    <a:pt x="60" y="19"/>
                  </a:cubicBezTo>
                  <a:cubicBezTo>
                    <a:pt x="60" y="17"/>
                    <a:pt x="61" y="16"/>
                    <a:pt x="61" y="16"/>
                  </a:cubicBezTo>
                  <a:cubicBezTo>
                    <a:pt x="61" y="16"/>
                    <a:pt x="62" y="17"/>
                    <a:pt x="62" y="19"/>
                  </a:cubicBezTo>
                  <a:lnTo>
                    <a:pt x="63" y="52"/>
                  </a:lnTo>
                  <a:cubicBezTo>
                    <a:pt x="63" y="68"/>
                    <a:pt x="55" y="81"/>
                    <a:pt x="45" y="85"/>
                  </a:cubicBezTo>
                  <a:close/>
                  <a:moveTo>
                    <a:pt x="43" y="189"/>
                  </a:moveTo>
                  <a:cubicBezTo>
                    <a:pt x="40" y="193"/>
                    <a:pt x="33" y="193"/>
                    <a:pt x="30" y="189"/>
                  </a:cubicBezTo>
                  <a:cubicBezTo>
                    <a:pt x="28" y="187"/>
                    <a:pt x="27" y="184"/>
                    <a:pt x="27" y="180"/>
                  </a:cubicBezTo>
                  <a:lnTo>
                    <a:pt x="31" y="96"/>
                  </a:lnTo>
                  <a:cubicBezTo>
                    <a:pt x="35" y="97"/>
                    <a:pt x="38" y="97"/>
                    <a:pt x="42" y="96"/>
                  </a:cubicBezTo>
                  <a:lnTo>
                    <a:pt x="46" y="180"/>
                  </a:lnTo>
                  <a:cubicBezTo>
                    <a:pt x="46" y="184"/>
                    <a:pt x="45" y="187"/>
                    <a:pt x="43" y="189"/>
                  </a:cubicBezTo>
                  <a:close/>
                  <a:moveTo>
                    <a:pt x="61" y="7"/>
                  </a:moveTo>
                  <a:cubicBezTo>
                    <a:pt x="55" y="7"/>
                    <a:pt x="51" y="12"/>
                    <a:pt x="51" y="19"/>
                  </a:cubicBezTo>
                  <a:cubicBezTo>
                    <a:pt x="51" y="27"/>
                    <a:pt x="51" y="38"/>
                    <a:pt x="49" y="46"/>
                  </a:cubicBezTo>
                  <a:lnTo>
                    <a:pt x="47" y="11"/>
                  </a:lnTo>
                  <a:cubicBezTo>
                    <a:pt x="47" y="5"/>
                    <a:pt x="42" y="0"/>
                    <a:pt x="36" y="0"/>
                  </a:cubicBezTo>
                  <a:cubicBezTo>
                    <a:pt x="31" y="0"/>
                    <a:pt x="26" y="5"/>
                    <a:pt x="26" y="11"/>
                  </a:cubicBezTo>
                  <a:lnTo>
                    <a:pt x="24" y="46"/>
                  </a:lnTo>
                  <a:cubicBezTo>
                    <a:pt x="22" y="38"/>
                    <a:pt x="22" y="27"/>
                    <a:pt x="22" y="19"/>
                  </a:cubicBezTo>
                  <a:cubicBezTo>
                    <a:pt x="22" y="12"/>
                    <a:pt x="18" y="7"/>
                    <a:pt x="12" y="7"/>
                  </a:cubicBezTo>
                  <a:cubicBezTo>
                    <a:pt x="6" y="7"/>
                    <a:pt x="2" y="12"/>
                    <a:pt x="2" y="18"/>
                  </a:cubicBezTo>
                  <a:lnTo>
                    <a:pt x="0" y="52"/>
                  </a:lnTo>
                  <a:cubicBezTo>
                    <a:pt x="0" y="70"/>
                    <a:pt x="9" y="85"/>
                    <a:pt x="22" y="92"/>
                  </a:cubicBezTo>
                  <a:lnTo>
                    <a:pt x="17" y="179"/>
                  </a:lnTo>
                  <a:cubicBezTo>
                    <a:pt x="17" y="188"/>
                    <a:pt x="20" y="193"/>
                    <a:pt x="23" y="196"/>
                  </a:cubicBezTo>
                  <a:cubicBezTo>
                    <a:pt x="27" y="199"/>
                    <a:pt x="31" y="201"/>
                    <a:pt x="36" y="201"/>
                  </a:cubicBezTo>
                  <a:cubicBezTo>
                    <a:pt x="42" y="201"/>
                    <a:pt x="46" y="199"/>
                    <a:pt x="50" y="196"/>
                  </a:cubicBezTo>
                  <a:cubicBezTo>
                    <a:pt x="53" y="193"/>
                    <a:pt x="56" y="188"/>
                    <a:pt x="55" y="179"/>
                  </a:cubicBezTo>
                  <a:lnTo>
                    <a:pt x="51" y="92"/>
                  </a:lnTo>
                  <a:cubicBezTo>
                    <a:pt x="64" y="85"/>
                    <a:pt x="73" y="70"/>
                    <a:pt x="73" y="52"/>
                  </a:cubicBezTo>
                  <a:lnTo>
                    <a:pt x="71" y="19"/>
                  </a:lnTo>
                  <a:cubicBezTo>
                    <a:pt x="71" y="12"/>
                    <a:pt x="67" y="7"/>
                    <a:pt x="61"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276">
              <a:extLst>
                <a:ext uri="{FF2B5EF4-FFF2-40B4-BE49-F238E27FC236}">
                  <a16:creationId xmlns:a16="http://schemas.microsoft.com/office/drawing/2014/main" id="{7BA615B3-151B-4AE8-9678-320212700A93}"/>
                </a:ext>
              </a:extLst>
            </p:cNvPr>
            <p:cNvSpPr>
              <a:spLocks noEditPoints="1"/>
            </p:cNvSpPr>
            <p:nvPr/>
          </p:nvSpPr>
          <p:spPr bwMode="auto">
            <a:xfrm>
              <a:off x="5914486" y="5477605"/>
              <a:ext cx="55563" cy="153988"/>
            </a:xfrm>
            <a:custGeom>
              <a:avLst/>
              <a:gdLst>
                <a:gd name="T0" fmla="*/ 44 w 72"/>
                <a:gd name="T1" fmla="*/ 85 h 201"/>
                <a:gd name="T2" fmla="*/ 44 w 72"/>
                <a:gd name="T3" fmla="*/ 85 h 201"/>
                <a:gd name="T4" fmla="*/ 40 w 72"/>
                <a:gd name="T5" fmla="*/ 86 h 201"/>
                <a:gd name="T6" fmla="*/ 36 w 72"/>
                <a:gd name="T7" fmla="*/ 87 h 201"/>
                <a:gd name="T8" fmla="*/ 31 w 72"/>
                <a:gd name="T9" fmla="*/ 86 h 201"/>
                <a:gd name="T10" fmla="*/ 27 w 72"/>
                <a:gd name="T11" fmla="*/ 85 h 201"/>
                <a:gd name="T12" fmla="*/ 27 w 72"/>
                <a:gd name="T13" fmla="*/ 85 h 201"/>
                <a:gd name="T14" fmla="*/ 9 w 72"/>
                <a:gd name="T15" fmla="*/ 52 h 201"/>
                <a:gd name="T16" fmla="*/ 36 w 72"/>
                <a:gd name="T17" fmla="*/ 9 h 201"/>
                <a:gd name="T18" fmla="*/ 62 w 72"/>
                <a:gd name="T19" fmla="*/ 52 h 201"/>
                <a:gd name="T20" fmla="*/ 44 w 72"/>
                <a:gd name="T21" fmla="*/ 85 h 201"/>
                <a:gd name="T22" fmla="*/ 42 w 72"/>
                <a:gd name="T23" fmla="*/ 189 h 201"/>
                <a:gd name="T24" fmla="*/ 29 w 72"/>
                <a:gd name="T25" fmla="*/ 189 h 201"/>
                <a:gd name="T26" fmla="*/ 26 w 72"/>
                <a:gd name="T27" fmla="*/ 180 h 201"/>
                <a:gd name="T28" fmla="*/ 30 w 72"/>
                <a:gd name="T29" fmla="*/ 96 h 201"/>
                <a:gd name="T30" fmla="*/ 41 w 72"/>
                <a:gd name="T31" fmla="*/ 96 h 201"/>
                <a:gd name="T32" fmla="*/ 45 w 72"/>
                <a:gd name="T33" fmla="*/ 180 h 201"/>
                <a:gd name="T34" fmla="*/ 42 w 72"/>
                <a:gd name="T35" fmla="*/ 189 h 201"/>
                <a:gd name="T36" fmla="*/ 36 w 72"/>
                <a:gd name="T37" fmla="*/ 0 h 201"/>
                <a:gd name="T38" fmla="*/ 0 w 72"/>
                <a:gd name="T39" fmla="*/ 52 h 201"/>
                <a:gd name="T40" fmla="*/ 21 w 72"/>
                <a:gd name="T41" fmla="*/ 92 h 201"/>
                <a:gd name="T42" fmla="*/ 17 w 72"/>
                <a:gd name="T43" fmla="*/ 179 h 201"/>
                <a:gd name="T44" fmla="*/ 22 w 72"/>
                <a:gd name="T45" fmla="*/ 196 h 201"/>
                <a:gd name="T46" fmla="*/ 36 w 72"/>
                <a:gd name="T47" fmla="*/ 201 h 201"/>
                <a:gd name="T48" fmla="*/ 49 w 72"/>
                <a:gd name="T49" fmla="*/ 196 h 201"/>
                <a:gd name="T50" fmla="*/ 55 w 72"/>
                <a:gd name="T51" fmla="*/ 179 h 201"/>
                <a:gd name="T52" fmla="*/ 50 w 72"/>
                <a:gd name="T53" fmla="*/ 92 h 201"/>
                <a:gd name="T54" fmla="*/ 72 w 72"/>
                <a:gd name="T55" fmla="*/ 52 h 201"/>
                <a:gd name="T56" fmla="*/ 36 w 72"/>
                <a:gd name="T5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2" h="201">
                  <a:moveTo>
                    <a:pt x="44" y="85"/>
                  </a:moveTo>
                  <a:cubicBezTo>
                    <a:pt x="44" y="85"/>
                    <a:pt x="44" y="85"/>
                    <a:pt x="44" y="85"/>
                  </a:cubicBezTo>
                  <a:cubicBezTo>
                    <a:pt x="42" y="86"/>
                    <a:pt x="41" y="86"/>
                    <a:pt x="40" y="86"/>
                  </a:cubicBezTo>
                  <a:cubicBezTo>
                    <a:pt x="38" y="87"/>
                    <a:pt x="37" y="87"/>
                    <a:pt x="36" y="87"/>
                  </a:cubicBezTo>
                  <a:cubicBezTo>
                    <a:pt x="34" y="87"/>
                    <a:pt x="33" y="87"/>
                    <a:pt x="31" y="86"/>
                  </a:cubicBezTo>
                  <a:cubicBezTo>
                    <a:pt x="30" y="86"/>
                    <a:pt x="29" y="86"/>
                    <a:pt x="27" y="85"/>
                  </a:cubicBezTo>
                  <a:cubicBezTo>
                    <a:pt x="27" y="85"/>
                    <a:pt x="27" y="85"/>
                    <a:pt x="27" y="85"/>
                  </a:cubicBezTo>
                  <a:cubicBezTo>
                    <a:pt x="17" y="80"/>
                    <a:pt x="9" y="67"/>
                    <a:pt x="9" y="52"/>
                  </a:cubicBezTo>
                  <a:cubicBezTo>
                    <a:pt x="9" y="39"/>
                    <a:pt x="18" y="9"/>
                    <a:pt x="36" y="9"/>
                  </a:cubicBezTo>
                  <a:cubicBezTo>
                    <a:pt x="53" y="9"/>
                    <a:pt x="62" y="39"/>
                    <a:pt x="62" y="52"/>
                  </a:cubicBezTo>
                  <a:cubicBezTo>
                    <a:pt x="62" y="67"/>
                    <a:pt x="54" y="80"/>
                    <a:pt x="44" y="85"/>
                  </a:cubicBezTo>
                  <a:close/>
                  <a:moveTo>
                    <a:pt x="42" y="189"/>
                  </a:moveTo>
                  <a:cubicBezTo>
                    <a:pt x="39" y="193"/>
                    <a:pt x="32" y="193"/>
                    <a:pt x="29" y="189"/>
                  </a:cubicBezTo>
                  <a:cubicBezTo>
                    <a:pt x="27" y="187"/>
                    <a:pt x="26" y="184"/>
                    <a:pt x="26" y="180"/>
                  </a:cubicBezTo>
                  <a:lnTo>
                    <a:pt x="30" y="96"/>
                  </a:lnTo>
                  <a:cubicBezTo>
                    <a:pt x="34" y="97"/>
                    <a:pt x="37" y="97"/>
                    <a:pt x="41" y="96"/>
                  </a:cubicBezTo>
                  <a:lnTo>
                    <a:pt x="45" y="180"/>
                  </a:lnTo>
                  <a:cubicBezTo>
                    <a:pt x="45" y="184"/>
                    <a:pt x="44" y="187"/>
                    <a:pt x="42" y="189"/>
                  </a:cubicBezTo>
                  <a:close/>
                  <a:moveTo>
                    <a:pt x="36" y="0"/>
                  </a:moveTo>
                  <a:cubicBezTo>
                    <a:pt x="10" y="0"/>
                    <a:pt x="0" y="37"/>
                    <a:pt x="0" y="52"/>
                  </a:cubicBezTo>
                  <a:cubicBezTo>
                    <a:pt x="0" y="70"/>
                    <a:pt x="8" y="85"/>
                    <a:pt x="21" y="92"/>
                  </a:cubicBezTo>
                  <a:lnTo>
                    <a:pt x="17" y="179"/>
                  </a:lnTo>
                  <a:cubicBezTo>
                    <a:pt x="16" y="188"/>
                    <a:pt x="19" y="193"/>
                    <a:pt x="22" y="196"/>
                  </a:cubicBezTo>
                  <a:cubicBezTo>
                    <a:pt x="26" y="199"/>
                    <a:pt x="30" y="201"/>
                    <a:pt x="36" y="201"/>
                  </a:cubicBezTo>
                  <a:cubicBezTo>
                    <a:pt x="41" y="201"/>
                    <a:pt x="46" y="199"/>
                    <a:pt x="49" y="196"/>
                  </a:cubicBezTo>
                  <a:cubicBezTo>
                    <a:pt x="52" y="193"/>
                    <a:pt x="55" y="188"/>
                    <a:pt x="55" y="179"/>
                  </a:cubicBezTo>
                  <a:lnTo>
                    <a:pt x="50" y="92"/>
                  </a:lnTo>
                  <a:cubicBezTo>
                    <a:pt x="63" y="85"/>
                    <a:pt x="72" y="70"/>
                    <a:pt x="72" y="52"/>
                  </a:cubicBezTo>
                  <a:cubicBezTo>
                    <a:pt x="72" y="37"/>
                    <a:pt x="61"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277">
              <a:extLst>
                <a:ext uri="{FF2B5EF4-FFF2-40B4-BE49-F238E27FC236}">
                  <a16:creationId xmlns:a16="http://schemas.microsoft.com/office/drawing/2014/main" id="{B33915C0-039B-4BD9-9D1F-870C1BE05AC1}"/>
                </a:ext>
              </a:extLst>
            </p:cNvPr>
            <p:cNvSpPr>
              <a:spLocks noEditPoints="1"/>
            </p:cNvSpPr>
            <p:nvPr/>
          </p:nvSpPr>
          <p:spPr bwMode="auto">
            <a:xfrm>
              <a:off x="5719223" y="5406167"/>
              <a:ext cx="287338" cy="287338"/>
            </a:xfrm>
            <a:custGeom>
              <a:avLst/>
              <a:gdLst>
                <a:gd name="T0" fmla="*/ 188 w 377"/>
                <a:gd name="T1" fmla="*/ 367 h 377"/>
                <a:gd name="T2" fmla="*/ 9 w 377"/>
                <a:gd name="T3" fmla="*/ 189 h 377"/>
                <a:gd name="T4" fmla="*/ 188 w 377"/>
                <a:gd name="T5" fmla="*/ 10 h 377"/>
                <a:gd name="T6" fmla="*/ 367 w 377"/>
                <a:gd name="T7" fmla="*/ 189 h 377"/>
                <a:gd name="T8" fmla="*/ 188 w 377"/>
                <a:gd name="T9" fmla="*/ 367 h 377"/>
                <a:gd name="T10" fmla="*/ 188 w 377"/>
                <a:gd name="T11" fmla="*/ 0 h 377"/>
                <a:gd name="T12" fmla="*/ 0 w 377"/>
                <a:gd name="T13" fmla="*/ 189 h 377"/>
                <a:gd name="T14" fmla="*/ 188 w 377"/>
                <a:gd name="T15" fmla="*/ 377 h 377"/>
                <a:gd name="T16" fmla="*/ 377 w 377"/>
                <a:gd name="T17" fmla="*/ 189 h 377"/>
                <a:gd name="T18" fmla="*/ 188 w 377"/>
                <a:gd name="T19"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7" h="377">
                  <a:moveTo>
                    <a:pt x="188" y="367"/>
                  </a:moveTo>
                  <a:cubicBezTo>
                    <a:pt x="90" y="367"/>
                    <a:pt x="9" y="287"/>
                    <a:pt x="9" y="189"/>
                  </a:cubicBezTo>
                  <a:cubicBezTo>
                    <a:pt x="9" y="90"/>
                    <a:pt x="90" y="10"/>
                    <a:pt x="188" y="10"/>
                  </a:cubicBezTo>
                  <a:cubicBezTo>
                    <a:pt x="287" y="10"/>
                    <a:pt x="367" y="90"/>
                    <a:pt x="367" y="189"/>
                  </a:cubicBezTo>
                  <a:cubicBezTo>
                    <a:pt x="367" y="287"/>
                    <a:pt x="287" y="367"/>
                    <a:pt x="188" y="367"/>
                  </a:cubicBezTo>
                  <a:close/>
                  <a:moveTo>
                    <a:pt x="188" y="0"/>
                  </a:moveTo>
                  <a:cubicBezTo>
                    <a:pt x="85" y="0"/>
                    <a:pt x="0" y="85"/>
                    <a:pt x="0" y="189"/>
                  </a:cubicBezTo>
                  <a:cubicBezTo>
                    <a:pt x="0" y="292"/>
                    <a:pt x="85" y="377"/>
                    <a:pt x="188" y="377"/>
                  </a:cubicBezTo>
                  <a:cubicBezTo>
                    <a:pt x="292" y="377"/>
                    <a:pt x="377" y="292"/>
                    <a:pt x="377" y="189"/>
                  </a:cubicBezTo>
                  <a:cubicBezTo>
                    <a:pt x="377" y="85"/>
                    <a:pt x="292" y="0"/>
                    <a:pt x="1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278">
              <a:extLst>
                <a:ext uri="{FF2B5EF4-FFF2-40B4-BE49-F238E27FC236}">
                  <a16:creationId xmlns:a16="http://schemas.microsoft.com/office/drawing/2014/main" id="{61CD6C02-2192-4BA9-8AE6-57EDDFC7876D}"/>
                </a:ext>
              </a:extLst>
            </p:cNvPr>
            <p:cNvSpPr>
              <a:spLocks/>
            </p:cNvSpPr>
            <p:nvPr/>
          </p:nvSpPr>
          <p:spPr bwMode="auto">
            <a:xfrm>
              <a:off x="5797011" y="5439505"/>
              <a:ext cx="131763" cy="26988"/>
            </a:xfrm>
            <a:custGeom>
              <a:avLst/>
              <a:gdLst>
                <a:gd name="T0" fmla="*/ 8 w 171"/>
                <a:gd name="T1" fmla="*/ 33 h 35"/>
                <a:gd name="T2" fmla="*/ 85 w 171"/>
                <a:gd name="T3" fmla="*/ 9 h 35"/>
                <a:gd name="T4" fmla="*/ 163 w 171"/>
                <a:gd name="T5" fmla="*/ 33 h 35"/>
                <a:gd name="T6" fmla="*/ 166 w 171"/>
                <a:gd name="T7" fmla="*/ 34 h 35"/>
                <a:gd name="T8" fmla="*/ 170 w 171"/>
                <a:gd name="T9" fmla="*/ 32 h 35"/>
                <a:gd name="T10" fmla="*/ 168 w 171"/>
                <a:gd name="T11" fmla="*/ 26 h 35"/>
                <a:gd name="T12" fmla="*/ 85 w 171"/>
                <a:gd name="T13" fmla="*/ 0 h 35"/>
                <a:gd name="T14" fmla="*/ 2 w 171"/>
                <a:gd name="T15" fmla="*/ 26 h 35"/>
                <a:gd name="T16" fmla="*/ 1 w 171"/>
                <a:gd name="T17" fmla="*/ 32 h 35"/>
                <a:gd name="T18" fmla="*/ 8 w 171"/>
                <a:gd name="T19"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35">
                  <a:moveTo>
                    <a:pt x="8" y="33"/>
                  </a:moveTo>
                  <a:cubicBezTo>
                    <a:pt x="31" y="17"/>
                    <a:pt x="57" y="9"/>
                    <a:pt x="85" y="9"/>
                  </a:cubicBezTo>
                  <a:cubicBezTo>
                    <a:pt x="113" y="9"/>
                    <a:pt x="140" y="17"/>
                    <a:pt x="163" y="33"/>
                  </a:cubicBezTo>
                  <a:cubicBezTo>
                    <a:pt x="164" y="34"/>
                    <a:pt x="165" y="34"/>
                    <a:pt x="166" y="34"/>
                  </a:cubicBezTo>
                  <a:cubicBezTo>
                    <a:pt x="167" y="34"/>
                    <a:pt x="169" y="33"/>
                    <a:pt x="170" y="32"/>
                  </a:cubicBezTo>
                  <a:cubicBezTo>
                    <a:pt x="171" y="30"/>
                    <a:pt x="171" y="27"/>
                    <a:pt x="168" y="26"/>
                  </a:cubicBezTo>
                  <a:cubicBezTo>
                    <a:pt x="144" y="9"/>
                    <a:pt x="115" y="0"/>
                    <a:pt x="85" y="0"/>
                  </a:cubicBezTo>
                  <a:cubicBezTo>
                    <a:pt x="55" y="0"/>
                    <a:pt x="27" y="9"/>
                    <a:pt x="2" y="26"/>
                  </a:cubicBezTo>
                  <a:cubicBezTo>
                    <a:pt x="0" y="27"/>
                    <a:pt x="0" y="30"/>
                    <a:pt x="1" y="32"/>
                  </a:cubicBezTo>
                  <a:cubicBezTo>
                    <a:pt x="3" y="34"/>
                    <a:pt x="5" y="35"/>
                    <a:pt x="8"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279">
              <a:extLst>
                <a:ext uri="{FF2B5EF4-FFF2-40B4-BE49-F238E27FC236}">
                  <a16:creationId xmlns:a16="http://schemas.microsoft.com/office/drawing/2014/main" id="{E5ECE6C0-16BB-4ABD-AFB8-94C83A34E21F}"/>
                </a:ext>
              </a:extLst>
            </p:cNvPr>
            <p:cNvSpPr>
              <a:spLocks/>
            </p:cNvSpPr>
            <p:nvPr/>
          </p:nvSpPr>
          <p:spPr bwMode="auto">
            <a:xfrm>
              <a:off x="5797011" y="5634767"/>
              <a:ext cx="131763" cy="26988"/>
            </a:xfrm>
            <a:custGeom>
              <a:avLst/>
              <a:gdLst>
                <a:gd name="T0" fmla="*/ 163 w 171"/>
                <a:gd name="T1" fmla="*/ 2 h 35"/>
                <a:gd name="T2" fmla="*/ 85 w 171"/>
                <a:gd name="T3" fmla="*/ 26 h 35"/>
                <a:gd name="T4" fmla="*/ 8 w 171"/>
                <a:gd name="T5" fmla="*/ 2 h 35"/>
                <a:gd name="T6" fmla="*/ 1 w 171"/>
                <a:gd name="T7" fmla="*/ 3 h 35"/>
                <a:gd name="T8" fmla="*/ 2 w 171"/>
                <a:gd name="T9" fmla="*/ 10 h 35"/>
                <a:gd name="T10" fmla="*/ 85 w 171"/>
                <a:gd name="T11" fmla="*/ 35 h 35"/>
                <a:gd name="T12" fmla="*/ 168 w 171"/>
                <a:gd name="T13" fmla="*/ 10 h 35"/>
                <a:gd name="T14" fmla="*/ 170 w 171"/>
                <a:gd name="T15" fmla="*/ 3 h 35"/>
                <a:gd name="T16" fmla="*/ 163 w 171"/>
                <a:gd name="T17"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35">
                  <a:moveTo>
                    <a:pt x="163" y="2"/>
                  </a:moveTo>
                  <a:cubicBezTo>
                    <a:pt x="140" y="18"/>
                    <a:pt x="113" y="26"/>
                    <a:pt x="85" y="26"/>
                  </a:cubicBezTo>
                  <a:cubicBezTo>
                    <a:pt x="57" y="26"/>
                    <a:pt x="31" y="18"/>
                    <a:pt x="8" y="2"/>
                  </a:cubicBezTo>
                  <a:cubicBezTo>
                    <a:pt x="5" y="0"/>
                    <a:pt x="3" y="1"/>
                    <a:pt x="1" y="3"/>
                  </a:cubicBezTo>
                  <a:cubicBezTo>
                    <a:pt x="0" y="5"/>
                    <a:pt x="0" y="8"/>
                    <a:pt x="2" y="10"/>
                  </a:cubicBezTo>
                  <a:cubicBezTo>
                    <a:pt x="27" y="27"/>
                    <a:pt x="55" y="35"/>
                    <a:pt x="85" y="35"/>
                  </a:cubicBezTo>
                  <a:cubicBezTo>
                    <a:pt x="115" y="35"/>
                    <a:pt x="144" y="27"/>
                    <a:pt x="168" y="10"/>
                  </a:cubicBezTo>
                  <a:cubicBezTo>
                    <a:pt x="171" y="8"/>
                    <a:pt x="171" y="5"/>
                    <a:pt x="170" y="3"/>
                  </a:cubicBezTo>
                  <a:cubicBezTo>
                    <a:pt x="168" y="1"/>
                    <a:pt x="165" y="0"/>
                    <a:pt x="16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7227645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B46A5-6314-4F27-8D01-4E8D89BCAEE0}"/>
              </a:ext>
            </a:extLst>
          </p:cNvPr>
          <p:cNvSpPr>
            <a:spLocks noGrp="1"/>
          </p:cNvSpPr>
          <p:nvPr>
            <p:ph type="title"/>
          </p:nvPr>
        </p:nvSpPr>
        <p:spPr>
          <a:xfrm>
            <a:off x="360000" y="360000"/>
            <a:ext cx="10800000" cy="795586"/>
          </a:xfrm>
        </p:spPr>
        <p:txBody>
          <a:bodyPr/>
          <a:lstStyle/>
          <a:p>
            <a:r>
              <a:rPr lang="mn-MN" dirty="0"/>
              <a:t>ХҮНСНИЙ ХАЯГДЛЫН ТӨРӨЛ</a:t>
            </a:r>
            <a:endParaRPr lang="en-GB" dirty="0"/>
          </a:p>
        </p:txBody>
      </p:sp>
      <p:sp>
        <p:nvSpPr>
          <p:cNvPr id="4" name="Slide Number Placeholder 3">
            <a:extLst>
              <a:ext uri="{FF2B5EF4-FFF2-40B4-BE49-F238E27FC236}">
                <a16:creationId xmlns:a16="http://schemas.microsoft.com/office/drawing/2014/main" id="{8EEA654F-A929-43AB-A79F-9BC3972A8380}"/>
              </a:ext>
            </a:extLst>
          </p:cNvPr>
          <p:cNvSpPr>
            <a:spLocks noGrp="1"/>
          </p:cNvSpPr>
          <p:nvPr>
            <p:ph type="sldNum" sz="quarter" idx="12"/>
          </p:nvPr>
        </p:nvSpPr>
        <p:spPr/>
        <p:txBody>
          <a:bodyPr/>
          <a:lstStyle/>
          <a:p>
            <a:fld id="{22BD14A0-459B-CA46-A763-3163F186A6C2}" type="slidenum">
              <a:rPr lang="en-US" smtClean="0"/>
              <a:t>11</a:t>
            </a:fld>
            <a:endParaRPr lang="en-US"/>
          </a:p>
        </p:txBody>
      </p:sp>
      <p:pic>
        <p:nvPicPr>
          <p:cNvPr id="9" name="Picture 8">
            <a:extLst>
              <a:ext uri="{FF2B5EF4-FFF2-40B4-BE49-F238E27FC236}">
                <a16:creationId xmlns:a16="http://schemas.microsoft.com/office/drawing/2014/main" id="{2673B83C-2ECB-44CE-9F8C-33C2D0651FF4}"/>
              </a:ext>
            </a:extLst>
          </p:cNvPr>
          <p:cNvPicPr>
            <a:picLocks noChangeAspect="1"/>
          </p:cNvPicPr>
          <p:nvPr/>
        </p:nvPicPr>
        <p:blipFill>
          <a:blip r:embed="rId2" cstate="screen">
            <a:extLst>
              <a:ext uri="{BEBA8EAE-BF5A-486C-A8C5-ECC9F3942E4B}">
                <a14:imgProps xmlns:a14="http://schemas.microsoft.com/office/drawing/2010/main">
                  <a14:imgLayer r:embed="rId3">
                    <a14:imgEffect>
                      <a14:backgroundRemoval t="8460" b="92408" l="2035" r="90698">
                        <a14:foregroundMark x1="7703" y1="57701" x2="7703" y2="57701"/>
                        <a14:foregroundMark x1="15988" y1="67245" x2="15988" y2="67245"/>
                        <a14:foregroundMark x1="5669" y1="52495" x2="5669" y2="52495"/>
                        <a14:foregroundMark x1="8576" y1="51193" x2="8576" y2="51193"/>
                        <a14:foregroundMark x1="2180" y1="56399" x2="2180" y2="56399"/>
                        <a14:foregroundMark x1="14244" y1="42733" x2="14244" y2="42733"/>
                        <a14:foregroundMark x1="39390" y1="8460" x2="39390" y2="8460"/>
                        <a14:foregroundMark x1="24273" y1="23427" x2="24273" y2="23427"/>
                        <a14:foregroundMark x1="26453" y1="16269" x2="26453" y2="16269"/>
                        <a14:foregroundMark x1="70494" y1="16269" x2="70494" y2="16269"/>
                        <a14:foregroundMark x1="90843" y1="47939" x2="90843" y2="47939"/>
                        <a14:foregroundMark x1="53634" y1="89371" x2="53634" y2="89371"/>
                        <a14:foregroundMark x1="36337" y1="92408" x2="36337" y2="92408"/>
                        <a14:foregroundMark x1="39826" y1="88069" x2="39826" y2="88069"/>
                        <a14:foregroundMark x1="51017" y1="90672" x2="51017" y2="90672"/>
                        <a14:foregroundMark x1="45058" y1="89371" x2="46802" y2="89371"/>
                        <a14:foregroundMark x1="50581" y1="89371" x2="50581" y2="89371"/>
                        <a14:foregroundMark x1="56686" y1="91974" x2="56686" y2="91974"/>
                        <a14:foregroundMark x1="75291" y1="86117" x2="75291" y2="86117"/>
                        <a14:foregroundMark x1="77471" y1="85466" x2="77471" y2="85466"/>
                        <a14:foregroundMark x1="66279" y1="91974" x2="66279" y2="91974"/>
                        <a14:foregroundMark x1="48547" y1="12364" x2="48547" y2="12364"/>
                      </a14:backgroundRemoval>
                    </a14:imgEffect>
                    <a14:imgEffect>
                      <a14:colorTemperature colorTemp="7200"/>
                    </a14:imgEffect>
                  </a14:imgLayer>
                </a14:imgProps>
              </a:ext>
              <a:ext uri="{28A0092B-C50C-407E-A947-70E740481C1C}">
                <a14:useLocalDpi xmlns:a14="http://schemas.microsoft.com/office/drawing/2010/main"/>
              </a:ext>
            </a:extLst>
          </a:blip>
          <a:stretch>
            <a:fillRect/>
          </a:stretch>
        </p:blipFill>
        <p:spPr>
          <a:xfrm>
            <a:off x="2231915" y="880309"/>
            <a:ext cx="3434271" cy="2301160"/>
          </a:xfrm>
          <a:prstGeom prst="rect">
            <a:avLst/>
          </a:prstGeom>
        </p:spPr>
      </p:pic>
      <p:pic>
        <p:nvPicPr>
          <p:cNvPr id="11" name="Picture 10">
            <a:extLst>
              <a:ext uri="{FF2B5EF4-FFF2-40B4-BE49-F238E27FC236}">
                <a16:creationId xmlns:a16="http://schemas.microsoft.com/office/drawing/2014/main" id="{681797BA-1D1A-4E8B-B6AC-3BF730015F67}"/>
              </a:ext>
            </a:extLst>
          </p:cNvPr>
          <p:cNvPicPr>
            <a:picLocks noChangeAspect="1"/>
          </p:cNvPicPr>
          <p:nvPr/>
        </p:nvPicPr>
        <p:blipFill>
          <a:blip r:embed="rId4" cstate="screen">
            <a:extLst>
              <a:ext uri="{BEBA8EAE-BF5A-486C-A8C5-ECC9F3942E4B}">
                <a14:imgProps xmlns:a14="http://schemas.microsoft.com/office/drawing/2010/main">
                  <a14:imgLayer r:embed="rId5">
                    <a14:imgEffect>
                      <a14:backgroundRemoval t="6417" b="90642" l="10000" r="90000">
                        <a14:foregroundMark x1="39138" y1="10963" x2="39138" y2="10963"/>
                        <a14:foregroundMark x1="45000" y1="9893" x2="45000" y2="9893"/>
                        <a14:foregroundMark x1="53793" y1="9893" x2="53793" y2="9893"/>
                        <a14:foregroundMark x1="59655" y1="6684" x2="59655" y2="6684"/>
                        <a14:foregroundMark x1="34655" y1="86096" x2="34655" y2="86096"/>
                        <a14:foregroundMark x1="40000" y1="90642" x2="40000" y2="90642"/>
                        <a14:foregroundMark x1="67069" y1="82086" x2="67069" y2="82086"/>
                      </a14:backgroundRemoval>
                    </a14:imgEffect>
                    <a14:imgEffect>
                      <a14:sharpenSoften amount="25000"/>
                    </a14:imgEffect>
                  </a14:imgLayer>
                </a14:imgProps>
              </a:ext>
              <a:ext uri="{28A0092B-C50C-407E-A947-70E740481C1C}">
                <a14:useLocalDpi xmlns:a14="http://schemas.microsoft.com/office/drawing/2010/main"/>
              </a:ext>
            </a:extLst>
          </a:blip>
          <a:stretch>
            <a:fillRect/>
          </a:stretch>
        </p:blipFill>
        <p:spPr>
          <a:xfrm>
            <a:off x="7551146" y="782734"/>
            <a:ext cx="3428044" cy="2210494"/>
          </a:xfrm>
          <a:prstGeom prst="rect">
            <a:avLst/>
          </a:prstGeom>
        </p:spPr>
      </p:pic>
      <p:pic>
        <p:nvPicPr>
          <p:cNvPr id="23" name="Picture 22">
            <a:extLst>
              <a:ext uri="{FF2B5EF4-FFF2-40B4-BE49-F238E27FC236}">
                <a16:creationId xmlns:a16="http://schemas.microsoft.com/office/drawing/2014/main" id="{0330AEAA-9330-428F-91F0-8A0821581BC3}"/>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199" b="89911" l="1757" r="96081">
                        <a14:foregroundMark x1="12027" y1="45104" x2="12027" y2="45104"/>
                        <a14:foregroundMark x1="17432" y1="68546" x2="17432" y2="68546"/>
                        <a14:foregroundMark x1="7703" y1="59050" x2="7703" y2="59050"/>
                        <a14:foregroundMark x1="8784" y1="78042" x2="8784" y2="78042"/>
                        <a14:foregroundMark x1="8784" y1="78042" x2="8784" y2="78042"/>
                        <a14:foregroundMark x1="20135" y1="82789" x2="20135" y2="82789"/>
                        <a14:foregroundMark x1="20135" y1="82789" x2="20135" y2="82789"/>
                        <a14:foregroundMark x1="22297" y1="86350" x2="22297" y2="86350"/>
                        <a14:foregroundMark x1="22297" y1="86350" x2="22297" y2="86350"/>
                        <a14:foregroundMark x1="7703" y1="67359" x2="7703" y2="67359"/>
                        <a14:foregroundMark x1="7703" y1="67359" x2="7703" y2="67359"/>
                        <a14:foregroundMark x1="5000" y1="52226" x2="5000" y2="52226"/>
                        <a14:foregroundMark x1="5000" y1="52226" x2="5000" y2="52226"/>
                        <a14:foregroundMark x1="1757" y1="42730" x2="1757" y2="42730"/>
                        <a14:foregroundMark x1="1757" y1="42730" x2="1757" y2="42730"/>
                        <a14:foregroundMark x1="36757" y1="9496" x2="36757" y2="9496"/>
                        <a14:foregroundMark x1="36757" y1="9496" x2="36757" y2="9496"/>
                        <a14:foregroundMark x1="88378" y1="20178" x2="88378" y2="20178"/>
                        <a14:foregroundMark x1="88378" y1="20178" x2="88378" y2="20178"/>
                        <a14:foregroundMark x1="85135" y1="14243" x2="85135" y2="14243"/>
                        <a14:foregroundMark x1="85135" y1="14243" x2="85135" y2="14243"/>
                        <a14:foregroundMark x1="79189" y1="22552" x2="79189" y2="22552"/>
                        <a14:foregroundMark x1="79730" y1="22552" x2="79730" y2="22552"/>
                        <a14:foregroundMark x1="84595" y1="28487" x2="84595" y2="28487"/>
                        <a14:foregroundMark x1="84595" y1="28487" x2="84595" y2="28487"/>
                        <a14:foregroundMark x1="84595" y1="45104" x2="84595" y2="45104"/>
                        <a14:foregroundMark x1="84595" y1="45104" x2="84595" y2="45104"/>
                        <a14:foregroundMark x1="86757" y1="57864" x2="86757" y2="57864"/>
                        <a14:foregroundMark x1="86757" y1="57864" x2="86757" y2="57864"/>
                        <a14:foregroundMark x1="93784" y1="56677" x2="93784" y2="56677"/>
                        <a14:foregroundMark x1="93784" y1="56677" x2="93784" y2="56677"/>
                        <a14:foregroundMark x1="87297" y1="39169" x2="87297" y2="39169"/>
                        <a14:foregroundMark x1="87297" y1="37982" x2="87297" y2="37982"/>
                        <a14:foregroundMark x1="93243" y1="51039" x2="93243" y2="51039"/>
                        <a14:foregroundMark x1="93243" y1="51039" x2="93243" y2="51039"/>
                        <a14:foregroundMark x1="94324" y1="68546" x2="94324" y2="68546"/>
                        <a14:foregroundMark x1="94324" y1="68546" x2="94324" y2="68546"/>
                        <a14:foregroundMark x1="86757" y1="82789" x2="86757" y2="82789"/>
                        <a14:foregroundMark x1="86757" y1="82789" x2="86757" y2="82789"/>
                        <a14:foregroundMark x1="80270" y1="83976" x2="80270" y2="83976"/>
                        <a14:foregroundMark x1="80270" y1="83976" x2="80270" y2="83976"/>
                        <a14:foregroundMark x1="82703" y1="82789" x2="82703" y2="82789"/>
                        <a14:foregroundMark x1="82703" y1="82789" x2="82703" y2="82789"/>
                        <a14:foregroundMark x1="6486" y1="9199" x2="6486" y2="9199"/>
                        <a14:foregroundMark x1="6486" y1="9199" x2="6486" y2="9199"/>
                        <a14:foregroundMark x1="5811" y1="9792" x2="5811" y2="9792"/>
                        <a14:foregroundMark x1="4189" y1="10979" x2="4189" y2="10979"/>
                        <a14:foregroundMark x1="3649" y1="13947" x2="3649" y2="13947"/>
                        <a14:foregroundMark x1="2568" y1="16024" x2="2568" y2="16024"/>
                        <a14:foregroundMark x1="79595" y1="87240" x2="79595" y2="87240"/>
                        <a14:foregroundMark x1="79595" y1="87240" x2="79595" y2="87240"/>
                        <a14:foregroundMark x1="92297" y1="84866" x2="92297" y2="84866"/>
                        <a14:foregroundMark x1="92432" y1="84866" x2="92432" y2="84866"/>
                        <a14:foregroundMark x1="95676" y1="78635" x2="95676" y2="78635"/>
                        <a14:foregroundMark x1="95676" y1="78635" x2="95676" y2="78635"/>
                        <a14:foregroundMark x1="96081" y1="85163" x2="96081" y2="85163"/>
                      </a14:backgroundRemoval>
                    </a14:imgEffect>
                  </a14:imgLayer>
                </a14:imgProps>
              </a:ext>
            </a:extLst>
          </a:blip>
          <a:stretch>
            <a:fillRect/>
          </a:stretch>
        </p:blipFill>
        <p:spPr>
          <a:xfrm>
            <a:off x="7409651" y="3809790"/>
            <a:ext cx="3711033" cy="1690024"/>
          </a:xfrm>
          <a:prstGeom prst="rect">
            <a:avLst/>
          </a:prstGeom>
        </p:spPr>
      </p:pic>
      <p:sp>
        <p:nvSpPr>
          <p:cNvPr id="24" name="TextBox 23">
            <a:extLst>
              <a:ext uri="{FF2B5EF4-FFF2-40B4-BE49-F238E27FC236}">
                <a16:creationId xmlns:a16="http://schemas.microsoft.com/office/drawing/2014/main" id="{8E59702A-BB36-419E-931F-D1BF93997224}"/>
              </a:ext>
            </a:extLst>
          </p:cNvPr>
          <p:cNvSpPr txBox="1"/>
          <p:nvPr/>
        </p:nvSpPr>
        <p:spPr>
          <a:xfrm>
            <a:off x="2321115" y="3012537"/>
            <a:ext cx="3255872" cy="369332"/>
          </a:xfrm>
          <a:prstGeom prst="rect">
            <a:avLst/>
          </a:prstGeom>
          <a:noFill/>
        </p:spPr>
        <p:txBody>
          <a:bodyPr wrap="square" rtlCol="0">
            <a:spAutoFit/>
          </a:bodyPr>
          <a:lstStyle/>
          <a:p>
            <a:pPr algn="ctr"/>
            <a:r>
              <a:rPr lang="mn-MN" dirty="0"/>
              <a:t>Жимс, ногооны хальс</a:t>
            </a:r>
            <a:endParaRPr lang="en-GB" dirty="0"/>
          </a:p>
        </p:txBody>
      </p:sp>
      <p:sp>
        <p:nvSpPr>
          <p:cNvPr id="25" name="TextBox 24">
            <a:extLst>
              <a:ext uri="{FF2B5EF4-FFF2-40B4-BE49-F238E27FC236}">
                <a16:creationId xmlns:a16="http://schemas.microsoft.com/office/drawing/2014/main" id="{20C2DBF8-5462-4E39-9481-3653AA7A4E38}"/>
              </a:ext>
            </a:extLst>
          </p:cNvPr>
          <p:cNvSpPr txBox="1"/>
          <p:nvPr/>
        </p:nvSpPr>
        <p:spPr>
          <a:xfrm>
            <a:off x="7806918" y="2996803"/>
            <a:ext cx="2916500" cy="646331"/>
          </a:xfrm>
          <a:prstGeom prst="rect">
            <a:avLst/>
          </a:prstGeom>
          <a:noFill/>
        </p:spPr>
        <p:txBody>
          <a:bodyPr wrap="square" rtlCol="0">
            <a:spAutoFit/>
          </a:bodyPr>
          <a:lstStyle/>
          <a:p>
            <a:pPr algn="ctr"/>
            <a:r>
              <a:rPr lang="mn-MN" dirty="0"/>
              <a:t>Хуучирч, муудсан жимс, хүнсний ногоо</a:t>
            </a:r>
            <a:endParaRPr lang="en-GB" dirty="0"/>
          </a:p>
        </p:txBody>
      </p:sp>
      <p:sp>
        <p:nvSpPr>
          <p:cNvPr id="26" name="TextBox 25">
            <a:extLst>
              <a:ext uri="{FF2B5EF4-FFF2-40B4-BE49-F238E27FC236}">
                <a16:creationId xmlns:a16="http://schemas.microsoft.com/office/drawing/2014/main" id="{FC196DF3-2E5D-4B1A-9EFA-26A46AE299C6}"/>
              </a:ext>
            </a:extLst>
          </p:cNvPr>
          <p:cNvSpPr txBox="1"/>
          <p:nvPr/>
        </p:nvSpPr>
        <p:spPr>
          <a:xfrm>
            <a:off x="2820742" y="5578273"/>
            <a:ext cx="2640983" cy="369332"/>
          </a:xfrm>
          <a:prstGeom prst="rect">
            <a:avLst/>
          </a:prstGeom>
          <a:noFill/>
        </p:spPr>
        <p:txBody>
          <a:bodyPr wrap="square" rtlCol="0">
            <a:spAutoFit/>
          </a:bodyPr>
          <a:lstStyle/>
          <a:p>
            <a:pPr algn="ctr"/>
            <a:r>
              <a:rPr lang="mn-MN" dirty="0"/>
              <a:t>Хоолны үлдэгдэл</a:t>
            </a:r>
            <a:endParaRPr lang="en-GB" dirty="0"/>
          </a:p>
        </p:txBody>
      </p:sp>
      <p:sp>
        <p:nvSpPr>
          <p:cNvPr id="27" name="TextBox 26">
            <a:extLst>
              <a:ext uri="{FF2B5EF4-FFF2-40B4-BE49-F238E27FC236}">
                <a16:creationId xmlns:a16="http://schemas.microsoft.com/office/drawing/2014/main" id="{FF70E91E-C4E4-4E02-982C-1A34E97826D1}"/>
              </a:ext>
            </a:extLst>
          </p:cNvPr>
          <p:cNvSpPr txBox="1"/>
          <p:nvPr/>
        </p:nvSpPr>
        <p:spPr>
          <a:xfrm>
            <a:off x="7650226" y="5578273"/>
            <a:ext cx="3065748" cy="369332"/>
          </a:xfrm>
          <a:prstGeom prst="rect">
            <a:avLst/>
          </a:prstGeom>
          <a:noFill/>
        </p:spPr>
        <p:txBody>
          <a:bodyPr wrap="square" rtlCol="0">
            <a:spAutoFit/>
          </a:bodyPr>
          <a:lstStyle/>
          <a:p>
            <a:pPr algn="ctr"/>
            <a:r>
              <a:rPr lang="mn-MN" dirty="0"/>
              <a:t>Талх, нарийн боов</a:t>
            </a:r>
            <a:endParaRPr lang="en-GB" dirty="0"/>
          </a:p>
        </p:txBody>
      </p:sp>
      <p:pic>
        <p:nvPicPr>
          <p:cNvPr id="7" name="Picture 6">
            <a:extLst>
              <a:ext uri="{FF2B5EF4-FFF2-40B4-BE49-F238E27FC236}">
                <a16:creationId xmlns:a16="http://schemas.microsoft.com/office/drawing/2014/main" id="{4DBCC1FD-630F-4B44-8686-6479D317F141}"/>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3934" b="96687" l="8257" r="97859">
                        <a14:foregroundMark x1="63303" y1="22360" x2="63303" y2="22360"/>
                        <a14:foregroundMark x1="63303" y1="22360" x2="63303" y2="22360"/>
                        <a14:foregroundMark x1="71254" y1="10766" x2="71254" y2="10766"/>
                        <a14:foregroundMark x1="71254" y1="10766" x2="71254" y2="10766"/>
                        <a14:foregroundMark x1="81346" y1="16149" x2="81346" y2="16149"/>
                        <a14:foregroundMark x1="81346" y1="16149" x2="81346" y2="16149"/>
                        <a14:foregroundMark x1="64220" y1="9731" x2="64220" y2="9731"/>
                        <a14:foregroundMark x1="64220" y1="9731" x2="64220" y2="9731"/>
                        <a14:foregroundMark x1="68807" y1="6004" x2="68807" y2="6004"/>
                        <a14:foregroundMark x1="68807" y1="6625" x2="68807" y2="6625"/>
                        <a14:foregroundMark x1="50153" y1="9110" x2="50153" y2="9110"/>
                        <a14:foregroundMark x1="30581" y1="16563" x2="30581" y2="16563"/>
                        <a14:foregroundMark x1="30581" y1="16563" x2="30581" y2="16563"/>
                        <a14:foregroundMark x1="28135" y1="19876" x2="28135" y2="19876"/>
                        <a14:foregroundMark x1="28135" y1="19876" x2="28135" y2="19876"/>
                        <a14:foregroundMark x1="27217" y1="18219" x2="27217" y2="18219"/>
                        <a14:foregroundMark x1="27217" y1="18634" x2="27217" y2="18634"/>
                        <a14:foregroundMark x1="11621" y1="57350" x2="11621" y2="57350"/>
                        <a14:foregroundMark x1="11621" y1="57350" x2="11621" y2="57350"/>
                        <a14:foregroundMark x1="14985" y1="52588" x2="14985" y2="52588"/>
                        <a14:foregroundMark x1="14985" y1="53209" x2="14985" y2="53209"/>
                        <a14:foregroundMark x1="13150" y1="68530" x2="13150" y2="68530"/>
                        <a14:foregroundMark x1="13150" y1="68530" x2="13150" y2="68530"/>
                        <a14:foregroundMark x1="74312" y1="12836" x2="74312" y2="12836"/>
                        <a14:foregroundMark x1="74312" y1="12836" x2="74312" y2="12836"/>
                        <a14:foregroundMark x1="88991" y1="19876" x2="88991" y2="19876"/>
                        <a14:foregroundMark x1="88991" y1="19876" x2="88991" y2="19876"/>
                        <a14:foregroundMark x1="91437" y1="26708" x2="91437" y2="26708"/>
                        <a14:foregroundMark x1="91437" y1="26708" x2="91437" y2="26708"/>
                        <a14:foregroundMark x1="93884" y1="26708" x2="93884" y2="26708"/>
                        <a14:foregroundMark x1="93884" y1="26708" x2="93884" y2="26708"/>
                        <a14:foregroundMark x1="89908" y1="43064" x2="89908" y2="43064"/>
                        <a14:foregroundMark x1="89908" y1="43064" x2="89908" y2="43064"/>
                        <a14:foregroundMark x1="92966" y1="37888" x2="92966" y2="37888"/>
                        <a14:foregroundMark x1="92966" y1="37888" x2="92966" y2="37888"/>
                        <a14:foregroundMark x1="94495" y1="33540" x2="94495" y2="33540"/>
                        <a14:foregroundMark x1="94495" y1="33540" x2="94495" y2="33540"/>
                        <a14:foregroundMark x1="10703" y1="29400" x2="10703" y2="29400"/>
                        <a14:foregroundMark x1="10703" y1="29400" x2="10703" y2="29400"/>
                        <a14:foregroundMark x1="9174" y1="54865" x2="9174" y2="54865"/>
                        <a14:foregroundMark x1="9174" y1="54865" x2="9174" y2="54865"/>
                        <a14:foregroundMark x1="8257" y1="61905" x2="8257" y2="61905"/>
                        <a14:foregroundMark x1="8257" y1="62112" x2="8257" y2="62112"/>
                        <a14:foregroundMark x1="20795" y1="89441" x2="20795" y2="89441"/>
                        <a14:foregroundMark x1="20795" y1="89441" x2="20795" y2="89441"/>
                        <a14:foregroundMark x1="23242" y1="92754" x2="23242" y2="92754"/>
                        <a14:foregroundMark x1="23242" y1="92754" x2="23242" y2="92754"/>
                        <a14:foregroundMark x1="11315" y1="77019" x2="11315" y2="77019"/>
                        <a14:foregroundMark x1="42508" y1="94617" x2="42508" y2="94617"/>
                        <a14:foregroundMark x1="42508" y1="94617" x2="42508" y2="94617"/>
                        <a14:foregroundMark x1="30581" y1="97308" x2="30581" y2="97308"/>
                        <a14:foregroundMark x1="30581" y1="97308" x2="30581" y2="97308"/>
                        <a14:foregroundMark x1="29969" y1="97101" x2="29969" y2="97101"/>
                        <a14:foregroundMark x1="29969" y1="97101" x2="29969" y2="97101"/>
                        <a14:foregroundMark x1="30581" y1="96894" x2="30581" y2="96894"/>
                        <a14:foregroundMark x1="30581" y1="96894" x2="30581" y2="96894"/>
                        <a14:foregroundMark x1="29358" y1="96687" x2="29358" y2="96687"/>
                        <a14:foregroundMark x1="29358" y1="96687" x2="29358" y2="96687"/>
                        <a14:foregroundMark x1="24771" y1="63147" x2="24771" y2="63147"/>
                        <a14:foregroundMark x1="24771" y1="63147" x2="24771" y2="63147"/>
                        <a14:foregroundMark x1="98165" y1="55072" x2="98165" y2="55072"/>
                        <a14:foregroundMark x1="98165" y1="55072" x2="98165" y2="55072"/>
                        <a14:foregroundMark x1="57187" y1="3934" x2="57187" y2="3934"/>
                        <a14:foregroundMark x1="57187" y1="3934" x2="57187" y2="3934"/>
                      </a14:backgroundRemoval>
                    </a14:imgEffect>
                  </a14:imgLayer>
                </a14:imgProps>
              </a:ext>
            </a:extLst>
          </a:blip>
          <a:stretch>
            <a:fillRect/>
          </a:stretch>
        </p:blipFill>
        <p:spPr>
          <a:xfrm rot="16200000">
            <a:off x="2828293" y="2968954"/>
            <a:ext cx="2126254" cy="3140610"/>
          </a:xfrm>
          <a:prstGeom prst="rect">
            <a:avLst/>
          </a:prstGeom>
        </p:spPr>
      </p:pic>
    </p:spTree>
    <p:extLst>
      <p:ext uri="{BB962C8B-B14F-4D97-AF65-F5344CB8AC3E}">
        <p14:creationId xmlns:p14="http://schemas.microsoft.com/office/powerpoint/2010/main" val="41622273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B46A5-6314-4F27-8D01-4E8D89BCAEE0}"/>
              </a:ext>
            </a:extLst>
          </p:cNvPr>
          <p:cNvSpPr>
            <a:spLocks noGrp="1"/>
          </p:cNvSpPr>
          <p:nvPr>
            <p:ph type="title"/>
          </p:nvPr>
        </p:nvSpPr>
        <p:spPr>
          <a:xfrm>
            <a:off x="360000" y="360000"/>
            <a:ext cx="10800000" cy="920160"/>
          </a:xfrm>
        </p:spPr>
        <p:txBody>
          <a:bodyPr/>
          <a:lstStyle/>
          <a:p>
            <a:r>
              <a:rPr lang="mn-MN" dirty="0"/>
              <a:t>ХҮНСНИЙ ХАЯГДЛЫН ТӨРӨЛ</a:t>
            </a:r>
            <a:endParaRPr lang="en-GB" dirty="0"/>
          </a:p>
        </p:txBody>
      </p:sp>
      <p:sp>
        <p:nvSpPr>
          <p:cNvPr id="4" name="Slide Number Placeholder 3">
            <a:extLst>
              <a:ext uri="{FF2B5EF4-FFF2-40B4-BE49-F238E27FC236}">
                <a16:creationId xmlns:a16="http://schemas.microsoft.com/office/drawing/2014/main" id="{8EEA654F-A929-43AB-A79F-9BC3972A8380}"/>
              </a:ext>
            </a:extLst>
          </p:cNvPr>
          <p:cNvSpPr>
            <a:spLocks noGrp="1"/>
          </p:cNvSpPr>
          <p:nvPr>
            <p:ph type="sldNum" sz="quarter" idx="12"/>
          </p:nvPr>
        </p:nvSpPr>
        <p:spPr/>
        <p:txBody>
          <a:bodyPr/>
          <a:lstStyle/>
          <a:p>
            <a:fld id="{22BD14A0-459B-CA46-A763-3163F186A6C2}" type="slidenum">
              <a:rPr lang="en-US" smtClean="0"/>
              <a:t>12</a:t>
            </a:fld>
            <a:endParaRPr lang="en-US"/>
          </a:p>
        </p:txBody>
      </p:sp>
      <p:pic>
        <p:nvPicPr>
          <p:cNvPr id="15" name="Picture 14">
            <a:extLst>
              <a:ext uri="{FF2B5EF4-FFF2-40B4-BE49-F238E27FC236}">
                <a16:creationId xmlns:a16="http://schemas.microsoft.com/office/drawing/2014/main" id="{476FA7B4-5D7A-4FEE-B39B-D6A02B702D8D}"/>
              </a:ext>
            </a:extLst>
          </p:cNvPr>
          <p:cNvPicPr>
            <a:picLocks noChangeAspect="1"/>
          </p:cNvPicPr>
          <p:nvPr/>
        </p:nvPicPr>
        <p:blipFill>
          <a:blip r:embed="rId2"/>
          <a:stretch>
            <a:fillRect/>
          </a:stretch>
        </p:blipFill>
        <p:spPr>
          <a:xfrm>
            <a:off x="1360308" y="1227073"/>
            <a:ext cx="3861842" cy="2059198"/>
          </a:xfrm>
          <a:prstGeom prst="rect">
            <a:avLst/>
          </a:prstGeom>
        </p:spPr>
      </p:pic>
      <p:pic>
        <p:nvPicPr>
          <p:cNvPr id="17" name="Picture 16">
            <a:extLst>
              <a:ext uri="{FF2B5EF4-FFF2-40B4-BE49-F238E27FC236}">
                <a16:creationId xmlns:a16="http://schemas.microsoft.com/office/drawing/2014/main" id="{7FF337A2-B9AF-4965-8880-F13585DEB7FE}"/>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4043" b="94894" l="1651" r="93535">
                        <a14:foregroundMark x1="18845" y1="35532" x2="18845" y2="35532"/>
                        <a14:foregroundMark x1="18845" y1="35532" x2="18845" y2="35532"/>
                        <a14:foregroundMark x1="28473" y1="18723" x2="28473" y2="18723"/>
                        <a14:foregroundMark x1="28473" y1="18723" x2="28473" y2="18723"/>
                        <a14:foregroundMark x1="36451" y1="10851" x2="36451" y2="10851"/>
                        <a14:foregroundMark x1="36451" y1="10851" x2="36451" y2="10851"/>
                        <a14:foregroundMark x1="25722" y1="19574" x2="25722" y2="19574"/>
                        <a14:foregroundMark x1="25722" y1="19574" x2="25722" y2="19574"/>
                        <a14:foregroundMark x1="25722" y1="10851" x2="25722" y2="10851"/>
                        <a14:foregroundMark x1="25722" y1="10851" x2="25722" y2="10851"/>
                        <a14:foregroundMark x1="50619" y1="10851" x2="50619" y2="10851"/>
                        <a14:foregroundMark x1="50619" y1="10851" x2="50619" y2="10851"/>
                        <a14:foregroundMark x1="28473" y1="21489" x2="28473" y2="21489"/>
                        <a14:foregroundMark x1="28473" y1="21489" x2="28473" y2="21489"/>
                        <a14:foregroundMark x1="14305" y1="39787" x2="14305" y2="39787"/>
                        <a14:foregroundMark x1="14305" y1="39787" x2="14305" y2="39787"/>
                        <a14:foregroundMark x1="56259" y1="87234" x2="56259" y2="87234"/>
                        <a14:foregroundMark x1="56259" y1="87234" x2="56259" y2="87234"/>
                        <a14:foregroundMark x1="56259" y1="87234" x2="56259" y2="87234"/>
                        <a14:foregroundMark x1="52820" y1="92340" x2="52820" y2="92340"/>
                        <a14:foregroundMark x1="62448" y1="95106" x2="62448" y2="95106"/>
                        <a14:foregroundMark x1="86245" y1="65319" x2="86245" y2="65319"/>
                        <a14:foregroundMark x1="86245" y1="65319" x2="86245" y2="65319"/>
                        <a14:foregroundMark x1="88033" y1="60000" x2="88033" y2="60000"/>
                        <a14:foregroundMark x1="88033" y1="60000" x2="88033" y2="60000"/>
                        <a14:foregroundMark x1="89133" y1="49362" x2="89133" y2="49362"/>
                        <a14:foregroundMark x1="89133" y1="49362" x2="89133" y2="49362"/>
                        <a14:foregroundMark x1="81706" y1="19574" x2="81706" y2="19574"/>
                        <a14:foregroundMark x1="81706" y1="19574" x2="81706" y2="19574"/>
                        <a14:foregroundMark x1="82256" y1="20638" x2="82256" y2="20638"/>
                        <a14:foregroundMark x1="82256" y1="20638" x2="82256" y2="20638"/>
                        <a14:foregroundMark x1="78404" y1="14468" x2="78404" y2="14468"/>
                        <a14:foregroundMark x1="78404" y1="14468" x2="78404" y2="14468"/>
                        <a14:foregroundMark x1="83494" y1="22340" x2="83494" y2="22340"/>
                        <a14:foregroundMark x1="83494" y1="22340" x2="83494" y2="22340"/>
                        <a14:foregroundMark x1="77166" y1="17021" x2="77166" y2="17021"/>
                        <a14:foregroundMark x1="77166" y1="16170" x2="77166" y2="16170"/>
                        <a14:foregroundMark x1="68776" y1="5745" x2="68776" y2="5745"/>
                        <a14:foregroundMark x1="68776" y1="5745" x2="68776" y2="5745"/>
                        <a14:foregroundMark x1="52820" y1="9149" x2="52820" y2="9149"/>
                        <a14:foregroundMark x1="52820" y1="9149" x2="52820" y2="9149"/>
                        <a14:foregroundMark x1="51719" y1="10000" x2="51719" y2="10000"/>
                        <a14:foregroundMark x1="51719" y1="10000" x2="51719" y2="10000"/>
                        <a14:foregroundMark x1="50069" y1="10851" x2="50069" y2="10851"/>
                        <a14:foregroundMark x1="50069" y1="10851" x2="50069" y2="10851"/>
                        <a14:foregroundMark x1="44979" y1="10851" x2="44979" y2="10851"/>
                        <a14:foregroundMark x1="44979" y1="10851" x2="44979" y2="10851"/>
                        <a14:foregroundMark x1="53370" y1="11702" x2="53370" y2="11702"/>
                        <a14:foregroundMark x1="53370" y1="11702" x2="53370" y2="11702"/>
                        <a14:foregroundMark x1="56809" y1="10851" x2="56809" y2="10851"/>
                        <a14:foregroundMark x1="57359" y1="10851" x2="57359" y2="10851"/>
                        <a14:foregroundMark x1="18432" y1="28511" x2="18432" y2="28511"/>
                        <a14:foregroundMark x1="18432" y1="28511" x2="18432" y2="28511"/>
                        <a14:foregroundMark x1="19945" y1="34468" x2="19945" y2="34468"/>
                        <a14:foregroundMark x1="19945" y1="34468" x2="19945" y2="34468"/>
                        <a14:foregroundMark x1="18707" y1="33404" x2="18707" y2="33404"/>
                        <a14:foregroundMark x1="18707" y1="33404" x2="18707" y2="33404"/>
                        <a14:foregroundMark x1="13343" y1="67234" x2="13343" y2="67234"/>
                        <a14:foregroundMark x1="13343" y1="67234" x2="13343" y2="67234"/>
                        <a14:foregroundMark x1="13067" y1="65532" x2="13067" y2="65532"/>
                        <a14:foregroundMark x1="13067" y1="65532" x2="13067" y2="65532"/>
                        <a14:foregroundMark x1="15956" y1="68936" x2="15956" y2="68936"/>
                        <a14:foregroundMark x1="15956" y1="68936" x2="15956" y2="68936"/>
                        <a14:foregroundMark x1="17194" y1="74681" x2="17194" y2="74681"/>
                        <a14:foregroundMark x1="17194" y1="74681" x2="17194" y2="74681"/>
                        <a14:foregroundMark x1="18707" y1="81277" x2="18707" y2="81277"/>
                        <a14:foregroundMark x1="18707" y1="81277" x2="18707" y2="81277"/>
                        <a14:foregroundMark x1="16919" y1="78723" x2="16919" y2="78723"/>
                        <a14:foregroundMark x1="16919" y1="78723" x2="16919" y2="78723"/>
                        <a14:foregroundMark x1="19120" y1="82766" x2="19120" y2="82766"/>
                        <a14:foregroundMark x1="19120" y1="82766" x2="19120" y2="82766"/>
                        <a14:foregroundMark x1="18019" y1="81915" x2="18019" y2="81915"/>
                        <a14:foregroundMark x1="22421" y1="85957" x2="22421" y2="85957"/>
                        <a14:foregroundMark x1="22421" y1="85957" x2="22421" y2="85957"/>
                        <a14:foregroundMark x1="90784" y1="43617" x2="90784" y2="43617"/>
                        <a14:foregroundMark x1="90784" y1="43617" x2="90784" y2="43617"/>
                        <a14:foregroundMark x1="59560" y1="9149" x2="59560" y2="9149"/>
                        <a14:foregroundMark x1="59560" y1="9149" x2="59560" y2="9149"/>
                        <a14:foregroundMark x1="59560" y1="8723" x2="59560" y2="8723"/>
                        <a14:foregroundMark x1="59560" y1="8723" x2="59560" y2="8723"/>
                        <a14:foregroundMark x1="51582" y1="7660" x2="51582" y2="7660"/>
                        <a14:foregroundMark x1="51582" y1="7660" x2="51582" y2="7660"/>
                        <a14:foregroundMark x1="47868" y1="6383" x2="47868" y2="6383"/>
                        <a14:foregroundMark x1="47868" y1="6383" x2="47868" y2="6383"/>
                        <a14:foregroundMark x1="50481" y1="5106" x2="50481" y2="5106"/>
                        <a14:foregroundMark x1="50481" y1="5106" x2="50481" y2="5106"/>
                        <a14:foregroundMark x1="46355" y1="4043" x2="46355" y2="4043"/>
                        <a14:foregroundMark x1="13755" y1="18085" x2="13755" y2="18085"/>
                        <a14:foregroundMark x1="13755" y1="18085" x2="13755" y2="18085"/>
                        <a14:foregroundMark x1="10316" y1="16383" x2="10316" y2="16383"/>
                        <a14:foregroundMark x1="10316" y1="16383" x2="10316" y2="16383"/>
                        <a14:foregroundMark x1="7703" y1="16809" x2="7703" y2="16809"/>
                        <a14:foregroundMark x1="7703" y1="16809" x2="7703" y2="16809"/>
                        <a14:foregroundMark x1="5365" y1="18085" x2="5365" y2="18085"/>
                        <a14:foregroundMark x1="5365" y1="18085" x2="5365" y2="18085"/>
                        <a14:foregroundMark x1="3301" y1="19787" x2="3301" y2="19787"/>
                        <a14:foregroundMark x1="3301" y1="19787" x2="3301" y2="19787"/>
                        <a14:foregroundMark x1="2063" y1="23404" x2="2063" y2="23404"/>
                        <a14:foregroundMark x1="2063" y1="23404" x2="2063" y2="23404"/>
                        <a14:foregroundMark x1="1788" y1="24468" x2="1788" y2="24468"/>
                        <a14:foregroundMark x1="1788" y1="24468" x2="1788" y2="24468"/>
                        <a14:foregroundMark x1="66575" y1="93404" x2="66575" y2="93404"/>
                        <a14:foregroundMark x1="66575" y1="93404" x2="66575" y2="93404"/>
                        <a14:foregroundMark x1="69051" y1="91915" x2="69051" y2="91915"/>
                        <a14:foregroundMark x1="69051" y1="91915" x2="69051" y2="91915"/>
                        <a14:foregroundMark x1="68913" y1="92553" x2="68913" y2="92553"/>
                        <a14:foregroundMark x1="68776" y1="92979" x2="68776" y2="92979"/>
                        <a14:foregroundMark x1="67813" y1="92553" x2="67813" y2="92553"/>
                        <a14:foregroundMark x1="67813" y1="92553" x2="67813" y2="92553"/>
                        <a14:foregroundMark x1="68363" y1="92553" x2="68363" y2="92553"/>
                        <a14:foregroundMark x1="68363" y1="92553" x2="68363" y2="92553"/>
                        <a14:foregroundMark x1="68776" y1="92128" x2="68776" y2="92128"/>
                        <a14:foregroundMark x1="68776" y1="92128" x2="68776" y2="92128"/>
                        <a14:foregroundMark x1="69876" y1="91277" x2="69876" y2="91277"/>
                        <a14:foregroundMark x1="68501" y1="92340" x2="68501" y2="92340"/>
                        <a14:foregroundMark x1="68776" y1="92340" x2="68776" y2="92340"/>
                        <a14:foregroundMark x1="70839" y1="91277" x2="70839" y2="91277"/>
                        <a14:foregroundMark x1="70839" y1="91277" x2="70839" y2="91277"/>
                        <a14:foregroundMark x1="68363" y1="92553" x2="68363" y2="92553"/>
                        <a14:foregroundMark x1="68363" y1="92553" x2="68363" y2="92553"/>
                        <a14:foregroundMark x1="68363" y1="91702" x2="68363" y2="91702"/>
                        <a14:foregroundMark x1="68501" y1="92128" x2="68501" y2="92128"/>
                        <a14:foregroundMark x1="68501" y1="92128" x2="68501" y2="92128"/>
                        <a14:foregroundMark x1="71664" y1="90851" x2="71664" y2="90851"/>
                        <a14:foregroundMark x1="71664" y1="90851" x2="71664" y2="90851"/>
                        <a14:foregroundMark x1="72627" y1="89787" x2="72627" y2="89787"/>
                        <a14:foregroundMark x1="72627" y1="89787" x2="72627" y2="89787"/>
                        <a14:foregroundMark x1="77304" y1="85319" x2="77304" y2="85319"/>
                        <a14:foregroundMark x1="77442" y1="85319" x2="77442" y2="85319"/>
                        <a14:foregroundMark x1="78680" y1="84043" x2="78680" y2="84043"/>
                        <a14:foregroundMark x1="78680" y1="84043" x2="78680" y2="84043"/>
                        <a14:foregroundMark x1="80193" y1="82128" x2="80193" y2="82128"/>
                        <a14:foregroundMark x1="80193" y1="82128" x2="80193" y2="82128"/>
                        <a14:foregroundMark x1="79917" y1="82340" x2="79917" y2="82340"/>
                        <a14:foregroundMark x1="93535" y1="37234" x2="93535" y2="37234"/>
                        <a14:foregroundMark x1="93260" y1="52553" x2="93260" y2="52553"/>
                        <a14:foregroundMark x1="68501" y1="92340" x2="68501" y2="92340"/>
                        <a14:foregroundMark x1="70702" y1="91702" x2="70702" y2="91702"/>
                        <a14:foregroundMark x1="67950" y1="92553" x2="67950" y2="92553"/>
                        <a14:foregroundMark x1="68501" y1="92553" x2="68501" y2="92553"/>
                        <a14:foregroundMark x1="70564" y1="91702" x2="70564" y2="91702"/>
                        <a14:foregroundMark x1="68776" y1="92553" x2="68776" y2="92553"/>
                        <a14:foregroundMark x1="67950" y1="92553" x2="67950" y2="92553"/>
                        <a14:foregroundMark x1="67950" y1="92553" x2="67950" y2="92553"/>
                        <a14:foregroundMark x1="68226" y1="92553" x2="68226" y2="92553"/>
                        <a14:foregroundMark x1="68363" y1="92340" x2="68363" y2="92340"/>
                        <a14:foregroundMark x1="71114" y1="90638" x2="71114" y2="90638"/>
                        <a14:foregroundMark x1="71114" y1="90638" x2="71114" y2="90638"/>
                        <a14:foregroundMark x1="68776" y1="92979" x2="68776" y2="92979"/>
                        <a14:foregroundMark x1="68776" y1="92979" x2="68776" y2="92979"/>
                        <a14:foregroundMark x1="70702" y1="91064" x2="70839" y2="91064"/>
                        <a14:foregroundMark x1="68226" y1="93191" x2="68226" y2="93191"/>
                        <a14:foregroundMark x1="68226" y1="93191" x2="68226" y2="93191"/>
                        <a14:foregroundMark x1="68226" y1="92340" x2="68226" y2="92340"/>
                        <a14:foregroundMark x1="68226" y1="92128" x2="68226" y2="92128"/>
                        <a14:foregroundMark x1="68226" y1="92128" x2="68226" y2="92128"/>
                        <a14:foregroundMark x1="80193" y1="82553" x2="80193" y2="82553"/>
                        <a14:foregroundMark x1="80468" y1="82553" x2="80468" y2="82553"/>
                        <a14:foregroundMark x1="81431" y1="81277" x2="81431" y2="81277"/>
                        <a14:foregroundMark x1="81568" y1="81277" x2="81568" y2="81277"/>
                        <a14:foregroundMark x1="82669" y1="79149" x2="82669" y2="79149"/>
                        <a14:foregroundMark x1="82669" y1="80000" x2="82669" y2="80000"/>
                        <a14:foregroundMark x1="79780" y1="82766" x2="79780" y2="82766"/>
                        <a14:foregroundMark x1="83769" y1="77872" x2="83769" y2="77872"/>
                        <a14:foregroundMark x1="85420" y1="75319" x2="85420" y2="75319"/>
                        <a14:foregroundMark x1="85557" y1="75106" x2="85557" y2="75106"/>
                        <a14:foregroundMark x1="86382" y1="73404" x2="86382" y2="73404"/>
                        <a14:foregroundMark x1="86107" y1="74255" x2="86107" y2="74255"/>
                        <a14:foregroundMark x1="79917" y1="82766" x2="79917" y2="82766"/>
                        <a14:foregroundMark x1="68501" y1="91915" x2="68501" y2="91915"/>
                        <a14:foregroundMark x1="68501" y1="91915" x2="68501" y2="91915"/>
                        <a14:foregroundMark x1="68363" y1="92553" x2="68363" y2="92553"/>
                        <a14:foregroundMark x1="68363" y1="92553" x2="68363" y2="92553"/>
                        <a14:foregroundMark x1="68776" y1="92128" x2="68776" y2="92128"/>
                        <a14:foregroundMark x1="68776" y1="92128" x2="68776" y2="92128"/>
                        <a14:foregroundMark x1="68226" y1="92128" x2="68226" y2="92128"/>
                        <a14:foregroundMark x1="68363" y1="92128" x2="68363" y2="92128"/>
                        <a14:foregroundMark x1="68501" y1="92340" x2="68501" y2="92340"/>
                        <a14:foregroundMark x1="68363" y1="92340" x2="68363" y2="92340"/>
                        <a14:foregroundMark x1="68226" y1="92553" x2="68226" y2="92553"/>
                        <a14:foregroundMark x1="68226" y1="92553" x2="68226" y2="92553"/>
                        <a14:foregroundMark x1="68501" y1="92553" x2="68501" y2="92553"/>
                        <a14:foregroundMark x1="68501" y1="92553" x2="68501" y2="92553"/>
                        <a14:foregroundMark x1="68501" y1="92340" x2="68501" y2="92340"/>
                        <a14:foregroundMark x1="68638" y1="92128" x2="68638" y2="92128"/>
                        <a14:foregroundMark x1="68638" y1="92128" x2="68638" y2="92128"/>
                        <a14:foregroundMark x1="68638" y1="92128" x2="68638" y2="92128"/>
                        <a14:foregroundMark x1="68638" y1="92340" x2="68638" y2="92340"/>
                        <a14:foregroundMark x1="68638" y1="92340" x2="68638" y2="92340"/>
                        <a14:foregroundMark x1="68363" y1="92340" x2="68363" y2="92340"/>
                        <a14:foregroundMark x1="68363" y1="92340" x2="68363" y2="92340"/>
                        <a14:foregroundMark x1="68363" y1="92340" x2="68363" y2="92340"/>
                        <a14:foregroundMark x1="68363" y1="92340" x2="68363" y2="92340"/>
                        <a14:foregroundMark x1="68363" y1="92340" x2="68363" y2="92340"/>
                        <a14:foregroundMark x1="68501" y1="92340" x2="68501" y2="92340"/>
                        <a14:foregroundMark x1="68501" y1="92340" x2="68501" y2="92340"/>
                        <a14:foregroundMark x1="68501" y1="92340" x2="68501" y2="92340"/>
                        <a14:foregroundMark x1="68501" y1="92340" x2="68501" y2="92340"/>
                        <a14:foregroundMark x1="68501" y1="92340" x2="68501" y2="92340"/>
                        <a14:foregroundMark x1="68501" y1="92340" x2="68501" y2="92340"/>
                        <a14:foregroundMark x1="68501" y1="92340" x2="68501" y2="92340"/>
                        <a14:foregroundMark x1="68226" y1="92340" x2="68226" y2="92340"/>
                        <a14:foregroundMark x1="68226" y1="92340" x2="68226" y2="92340"/>
                        <a14:foregroundMark x1="68363" y1="92340" x2="68363" y2="92340"/>
                        <a14:foregroundMark x1="68363" y1="92340" x2="68363" y2="92340"/>
                        <a14:foregroundMark x1="68501" y1="92553" x2="68501" y2="92553"/>
                        <a14:foregroundMark x1="68501" y1="92553" x2="68501" y2="92553"/>
                        <a14:foregroundMark x1="68501" y1="92553" x2="68501" y2="92553"/>
                        <a14:foregroundMark x1="68501" y1="92553" x2="68501" y2="92553"/>
                        <a14:foregroundMark x1="80055" y1="82766" x2="80055" y2="82766"/>
                        <a14:foregroundMark x1="80055" y1="82766" x2="80055" y2="82766"/>
                        <a14:foregroundMark x1="79642" y1="83191" x2="79642" y2="83191"/>
                        <a14:foregroundMark x1="78404" y1="84043" x2="78404" y2="84043"/>
                        <a14:foregroundMark x1="80055" y1="83191" x2="80055" y2="83191"/>
                        <a14:foregroundMark x1="79780" y1="82766" x2="79780" y2="82766"/>
                        <a14:foregroundMark x1="79642" y1="82979" x2="79642" y2="82979"/>
                        <a14:foregroundMark x1="78129" y1="84255" x2="78129" y2="84255"/>
                        <a14:foregroundMark x1="78267" y1="84255" x2="78267" y2="84255"/>
                        <a14:foregroundMark x1="78404" y1="84043" x2="78404" y2="84043"/>
                        <a14:foregroundMark x1="78404" y1="84043" x2="78404" y2="84043"/>
                        <a14:foregroundMark x1="78542" y1="84468" x2="78542" y2="84468"/>
                        <a14:foregroundMark x1="78542" y1="84468" x2="78542" y2="84468"/>
                        <a14:foregroundMark x1="80055" y1="83191" x2="80055" y2="83191"/>
                        <a14:foregroundMark x1="80055" y1="83191" x2="80055" y2="83191"/>
                        <a14:foregroundMark x1="78542" y1="84043" x2="78542" y2="84043"/>
                        <a14:foregroundMark x1="68363" y1="92128" x2="68363" y2="92128"/>
                        <a14:foregroundMark x1="68363" y1="92128" x2="68363" y2="92128"/>
                        <a14:foregroundMark x1="68363" y1="92340" x2="68363" y2="92340"/>
                        <a14:foregroundMark x1="68501" y1="92553" x2="68501" y2="92553"/>
                        <a14:foregroundMark x1="68776" y1="92340" x2="68776" y2="92340"/>
                        <a14:foregroundMark x1="68776" y1="92340" x2="68776" y2="92340"/>
                        <a14:foregroundMark x1="68776" y1="92340" x2="68776" y2="92340"/>
                        <a14:backgroundMark x1="3989" y1="18511" x2="3989" y2="18511"/>
                        <a14:backgroundMark x1="3989" y1="18511" x2="3989" y2="18511"/>
                        <a14:backgroundMark x1="3301" y1="19787" x2="3301" y2="19787"/>
                        <a14:backgroundMark x1="2063" y1="24043" x2="2063" y2="24043"/>
                        <a14:backgroundMark x1="1376" y1="23830" x2="1376" y2="23830"/>
                        <a14:backgroundMark x1="1788" y1="24468" x2="1788" y2="24468"/>
                        <a14:backgroundMark x1="1788" y1="24468" x2="1788" y2="24468"/>
                        <a14:backgroundMark x1="2063" y1="23404" x2="2063" y2="23404"/>
                        <a14:backgroundMark x1="14030" y1="17872" x2="14030" y2="17872"/>
                        <a14:backgroundMark x1="14030" y1="17872" x2="14030" y2="17872"/>
                        <a14:backgroundMark x1="13755" y1="18298" x2="13755" y2="18298"/>
                        <a14:backgroundMark x1="13755" y1="18298" x2="13755" y2="18298"/>
                        <a14:backgroundMark x1="13755" y1="18298" x2="13755" y2="18298"/>
                        <a14:backgroundMark x1="13755" y1="18298" x2="13755" y2="18298"/>
                        <a14:backgroundMark x1="13755" y1="17660" x2="13755" y2="17660"/>
                        <a14:backgroundMark x1="13755" y1="17872" x2="13755" y2="17872"/>
                        <a14:backgroundMark x1="10454" y1="16383" x2="10454" y2="16383"/>
                        <a14:backgroundMark x1="10454" y1="16383" x2="10454" y2="16383"/>
                        <a14:backgroundMark x1="10454" y1="16383" x2="10454" y2="16383"/>
                        <a14:backgroundMark x1="10454" y1="16383" x2="10454" y2="16383"/>
                        <a14:backgroundMark x1="10454" y1="16383" x2="10454" y2="16383"/>
                        <a14:backgroundMark x1="10179" y1="16170" x2="10179" y2="16170"/>
                        <a14:backgroundMark x1="10179" y1="16170" x2="10179" y2="16170"/>
                        <a14:backgroundMark x1="10041" y1="16809" x2="10041" y2="16809"/>
                        <a14:backgroundMark x1="10179" y1="16809" x2="10179" y2="16809"/>
                        <a14:backgroundMark x1="10179" y1="16809" x2="10179" y2="16809"/>
                        <a14:backgroundMark x1="10179" y1="16809" x2="10179" y2="16809"/>
                        <a14:backgroundMark x1="10316" y1="16383" x2="10316" y2="16383"/>
                        <a14:backgroundMark x1="10316" y1="16383" x2="10316" y2="16383"/>
                        <a14:backgroundMark x1="7840" y1="17021" x2="7840" y2="17021"/>
                        <a14:backgroundMark x1="7840" y1="17021" x2="7840" y2="17021"/>
                        <a14:backgroundMark x1="5502" y1="18085" x2="5502" y2="18085"/>
                        <a14:backgroundMark x1="5502" y1="18085" x2="5502" y2="18085"/>
                        <a14:backgroundMark x1="79917" y1="83191" x2="79917" y2="83191"/>
                        <a14:backgroundMark x1="79917" y1="83191" x2="79917" y2="83191"/>
                        <a14:backgroundMark x1="79780" y1="83191" x2="79780" y2="83191"/>
                        <a14:backgroundMark x1="79780" y1="83191" x2="79780" y2="83191"/>
                        <a14:backgroundMark x1="80055" y1="82128" x2="80055" y2="82128"/>
                        <a14:backgroundMark x1="80055" y1="82128" x2="80055" y2="82128"/>
                        <a14:backgroundMark x1="78267" y1="84255" x2="78267" y2="84255"/>
                        <a14:backgroundMark x1="78267" y1="84255" x2="78267" y2="84255"/>
                        <a14:backgroundMark x1="68226" y1="92553" x2="68226" y2="92553"/>
                        <a14:backgroundMark x1="68226" y1="92553" x2="68226" y2="92553"/>
                        <a14:backgroundMark x1="68501" y1="92128" x2="68501" y2="92128"/>
                        <a14:backgroundMark x1="68501" y1="92128" x2="68501" y2="92128"/>
                      </a14:backgroundRemoval>
                    </a14:imgEffect>
                  </a14:imgLayer>
                </a14:imgProps>
              </a:ext>
            </a:extLst>
          </a:blip>
          <a:stretch>
            <a:fillRect/>
          </a:stretch>
        </p:blipFill>
        <p:spPr>
          <a:xfrm>
            <a:off x="1673248" y="3803577"/>
            <a:ext cx="2826563" cy="1827350"/>
          </a:xfrm>
          <a:prstGeom prst="rect">
            <a:avLst/>
          </a:prstGeom>
        </p:spPr>
      </p:pic>
      <p:pic>
        <p:nvPicPr>
          <p:cNvPr id="19" name="Picture 18">
            <a:extLst>
              <a:ext uri="{FF2B5EF4-FFF2-40B4-BE49-F238E27FC236}">
                <a16:creationId xmlns:a16="http://schemas.microsoft.com/office/drawing/2014/main" id="{0A2EDCC1-ABE4-4947-B1A1-9138B2982452}"/>
              </a:ext>
            </a:extLst>
          </p:cNvPr>
          <p:cNvPicPr>
            <a:picLocks noChangeAspect="1"/>
          </p:cNvPicPr>
          <p:nvPr/>
        </p:nvPicPr>
        <p:blipFill>
          <a:blip r:embed="rId5"/>
          <a:stretch>
            <a:fillRect/>
          </a:stretch>
        </p:blipFill>
        <p:spPr>
          <a:xfrm>
            <a:off x="6182448" y="1390010"/>
            <a:ext cx="2388622" cy="2625902"/>
          </a:xfrm>
          <a:prstGeom prst="rect">
            <a:avLst/>
          </a:prstGeom>
        </p:spPr>
      </p:pic>
      <p:sp>
        <p:nvSpPr>
          <p:cNvPr id="28" name="TextBox 27">
            <a:extLst>
              <a:ext uri="{FF2B5EF4-FFF2-40B4-BE49-F238E27FC236}">
                <a16:creationId xmlns:a16="http://schemas.microsoft.com/office/drawing/2014/main" id="{2A72F1FE-2A8B-49F9-8606-88A8BCDACBF0}"/>
              </a:ext>
            </a:extLst>
          </p:cNvPr>
          <p:cNvSpPr txBox="1"/>
          <p:nvPr/>
        </p:nvSpPr>
        <p:spPr>
          <a:xfrm>
            <a:off x="1680930" y="3293175"/>
            <a:ext cx="3134313" cy="369332"/>
          </a:xfrm>
          <a:prstGeom prst="rect">
            <a:avLst/>
          </a:prstGeom>
          <a:noFill/>
        </p:spPr>
        <p:txBody>
          <a:bodyPr wrap="square" rtlCol="0">
            <a:spAutoFit/>
          </a:bodyPr>
          <a:lstStyle/>
          <a:p>
            <a:pPr algn="ctr"/>
            <a:r>
              <a:rPr lang="mn-MN" dirty="0"/>
              <a:t>Болсон мах</a:t>
            </a:r>
            <a:endParaRPr lang="en-GB" dirty="0"/>
          </a:p>
        </p:txBody>
      </p:sp>
      <p:sp>
        <p:nvSpPr>
          <p:cNvPr id="29" name="TextBox 28">
            <a:extLst>
              <a:ext uri="{FF2B5EF4-FFF2-40B4-BE49-F238E27FC236}">
                <a16:creationId xmlns:a16="http://schemas.microsoft.com/office/drawing/2014/main" id="{4B5252B6-0DEF-41EE-994A-AB7F64BDDBC1}"/>
              </a:ext>
            </a:extLst>
          </p:cNvPr>
          <p:cNvSpPr txBox="1"/>
          <p:nvPr/>
        </p:nvSpPr>
        <p:spPr>
          <a:xfrm>
            <a:off x="1728656" y="5708297"/>
            <a:ext cx="2618785" cy="369332"/>
          </a:xfrm>
          <a:prstGeom prst="rect">
            <a:avLst/>
          </a:prstGeom>
          <a:noFill/>
        </p:spPr>
        <p:txBody>
          <a:bodyPr wrap="square" rtlCol="0">
            <a:spAutoFit/>
          </a:bodyPr>
          <a:lstStyle/>
          <a:p>
            <a:pPr algn="ctr"/>
            <a:r>
              <a:rPr lang="mn-MN" dirty="0"/>
              <a:t>Болсон хоол, хүнс</a:t>
            </a:r>
            <a:endParaRPr lang="en-GB" dirty="0"/>
          </a:p>
        </p:txBody>
      </p:sp>
      <p:sp>
        <p:nvSpPr>
          <p:cNvPr id="30" name="TextBox 29">
            <a:extLst>
              <a:ext uri="{FF2B5EF4-FFF2-40B4-BE49-F238E27FC236}">
                <a16:creationId xmlns:a16="http://schemas.microsoft.com/office/drawing/2014/main" id="{28D2635F-F5FD-4898-A326-C10AAD19278A}"/>
              </a:ext>
            </a:extLst>
          </p:cNvPr>
          <p:cNvSpPr txBox="1"/>
          <p:nvPr/>
        </p:nvSpPr>
        <p:spPr>
          <a:xfrm>
            <a:off x="9342723" y="5079818"/>
            <a:ext cx="2205387" cy="369332"/>
          </a:xfrm>
          <a:prstGeom prst="rect">
            <a:avLst/>
          </a:prstGeom>
          <a:noFill/>
        </p:spPr>
        <p:txBody>
          <a:bodyPr wrap="square" rtlCol="0">
            <a:spAutoFit/>
          </a:bodyPr>
          <a:lstStyle/>
          <a:p>
            <a:pPr algn="ctr"/>
            <a:r>
              <a:rPr lang="mn-MN" dirty="0"/>
              <a:t>Кофений шаар</a:t>
            </a:r>
            <a:endParaRPr lang="en-GB" dirty="0"/>
          </a:p>
        </p:txBody>
      </p:sp>
      <p:sp>
        <p:nvSpPr>
          <p:cNvPr id="31" name="TextBox 30">
            <a:extLst>
              <a:ext uri="{FF2B5EF4-FFF2-40B4-BE49-F238E27FC236}">
                <a16:creationId xmlns:a16="http://schemas.microsoft.com/office/drawing/2014/main" id="{1A9A5A76-4340-432C-99F7-9B23CB388544}"/>
              </a:ext>
            </a:extLst>
          </p:cNvPr>
          <p:cNvSpPr txBox="1"/>
          <p:nvPr/>
        </p:nvSpPr>
        <p:spPr>
          <a:xfrm>
            <a:off x="6606739" y="4192459"/>
            <a:ext cx="1540040" cy="369332"/>
          </a:xfrm>
          <a:prstGeom prst="rect">
            <a:avLst/>
          </a:prstGeom>
          <a:noFill/>
        </p:spPr>
        <p:txBody>
          <a:bodyPr wrap="square" rtlCol="0">
            <a:spAutoFit/>
          </a:bodyPr>
          <a:lstStyle/>
          <a:p>
            <a:pPr algn="ctr"/>
            <a:r>
              <a:rPr lang="mn-MN" dirty="0"/>
              <a:t>Цайны идээ</a:t>
            </a:r>
            <a:endParaRPr lang="en-GB" dirty="0"/>
          </a:p>
        </p:txBody>
      </p:sp>
      <p:pic>
        <p:nvPicPr>
          <p:cNvPr id="5" name="Picture 4">
            <a:extLst>
              <a:ext uri="{FF2B5EF4-FFF2-40B4-BE49-F238E27FC236}">
                <a16:creationId xmlns:a16="http://schemas.microsoft.com/office/drawing/2014/main" id="{19E087DA-A917-49DD-BE9F-08230A1D71B2}"/>
              </a:ext>
            </a:extLst>
          </p:cNvPr>
          <p:cNvPicPr>
            <a:picLocks noChangeAspect="1"/>
          </p:cNvPicPr>
          <p:nvPr/>
        </p:nvPicPr>
        <p:blipFill>
          <a:blip r:embed="rId6"/>
          <a:stretch>
            <a:fillRect/>
          </a:stretch>
        </p:blipFill>
        <p:spPr>
          <a:xfrm>
            <a:off x="9474030" y="1248448"/>
            <a:ext cx="2074080" cy="3703147"/>
          </a:xfrm>
          <a:prstGeom prst="rect">
            <a:avLst/>
          </a:prstGeom>
        </p:spPr>
      </p:pic>
    </p:spTree>
    <p:extLst>
      <p:ext uri="{BB962C8B-B14F-4D97-AF65-F5344CB8AC3E}">
        <p14:creationId xmlns:p14="http://schemas.microsoft.com/office/powerpoint/2010/main" val="36370678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C738F-02D5-43CC-9453-701E6F8520A8}"/>
              </a:ext>
            </a:extLst>
          </p:cNvPr>
          <p:cNvSpPr>
            <a:spLocks noGrp="1"/>
          </p:cNvSpPr>
          <p:nvPr>
            <p:ph type="title"/>
          </p:nvPr>
        </p:nvSpPr>
        <p:spPr/>
        <p:txBody>
          <a:bodyPr/>
          <a:lstStyle/>
          <a:p>
            <a:r>
              <a:rPr lang="mn-MN" dirty="0"/>
              <a:t>ХҮНСНИЙ ХАЯГДЛЫН ОНЦЛОГ</a:t>
            </a:r>
            <a:endParaRPr lang="en-GB" dirty="0"/>
          </a:p>
        </p:txBody>
      </p:sp>
      <p:pic>
        <p:nvPicPr>
          <p:cNvPr id="8" name="Content Placeholder 7">
            <a:extLst>
              <a:ext uri="{FF2B5EF4-FFF2-40B4-BE49-F238E27FC236}">
                <a16:creationId xmlns:a16="http://schemas.microsoft.com/office/drawing/2014/main" id="{3AB793A4-4591-4952-8BEA-84E60A58E073}"/>
              </a:ext>
            </a:extLst>
          </p:cNvPr>
          <p:cNvPicPr>
            <a:picLocks noGrp="1" noChangeAspect="1"/>
          </p:cNvPicPr>
          <p:nvPr>
            <p:ph sz="half" idx="1"/>
          </p:nvPr>
        </p:nvPicPr>
        <p:blipFill>
          <a:blip r:embed="rId2"/>
          <a:stretch>
            <a:fillRect/>
          </a:stretch>
        </p:blipFill>
        <p:spPr>
          <a:xfrm>
            <a:off x="651607" y="2126230"/>
            <a:ext cx="3064050" cy="2340668"/>
          </a:xfrm>
        </p:spPr>
      </p:pic>
      <p:pic>
        <p:nvPicPr>
          <p:cNvPr id="11" name="Content Placeholder 10">
            <a:extLst>
              <a:ext uri="{FF2B5EF4-FFF2-40B4-BE49-F238E27FC236}">
                <a16:creationId xmlns:a16="http://schemas.microsoft.com/office/drawing/2014/main" id="{F2718262-2B73-4A30-BBCB-429494673004}"/>
              </a:ext>
            </a:extLst>
          </p:cNvPr>
          <p:cNvPicPr>
            <a:picLocks noGrp="1" noChangeAspect="1"/>
          </p:cNvPicPr>
          <p:nvPr>
            <p:ph sz="half" idx="2"/>
          </p:nvPr>
        </p:nvPicPr>
        <p:blipFill>
          <a:blip r:embed="rId3"/>
          <a:stretch>
            <a:fillRect/>
          </a:stretch>
        </p:blipFill>
        <p:spPr>
          <a:xfrm>
            <a:off x="4252460" y="2126230"/>
            <a:ext cx="3367087" cy="2340668"/>
          </a:xfrm>
        </p:spPr>
      </p:pic>
      <p:sp>
        <p:nvSpPr>
          <p:cNvPr id="4" name="Slide Number Placeholder 3">
            <a:extLst>
              <a:ext uri="{FF2B5EF4-FFF2-40B4-BE49-F238E27FC236}">
                <a16:creationId xmlns:a16="http://schemas.microsoft.com/office/drawing/2014/main" id="{8D50CD91-9E00-45BB-9D2B-8F7C3DCB62CD}"/>
              </a:ext>
            </a:extLst>
          </p:cNvPr>
          <p:cNvSpPr>
            <a:spLocks noGrp="1"/>
          </p:cNvSpPr>
          <p:nvPr>
            <p:ph type="sldNum" sz="quarter" idx="12"/>
          </p:nvPr>
        </p:nvSpPr>
        <p:spPr/>
        <p:txBody>
          <a:bodyPr/>
          <a:lstStyle/>
          <a:p>
            <a:fld id="{22BD14A0-459B-CA46-A763-3163F186A6C2}" type="slidenum">
              <a:rPr lang="en-US" smtClean="0"/>
              <a:t>13</a:t>
            </a:fld>
            <a:endParaRPr lang="en-US"/>
          </a:p>
        </p:txBody>
      </p:sp>
      <p:sp>
        <p:nvSpPr>
          <p:cNvPr id="9" name="TextBox 8">
            <a:extLst>
              <a:ext uri="{FF2B5EF4-FFF2-40B4-BE49-F238E27FC236}">
                <a16:creationId xmlns:a16="http://schemas.microsoft.com/office/drawing/2014/main" id="{F84F8CAB-A2E4-4986-82C6-DF525765C34A}"/>
              </a:ext>
            </a:extLst>
          </p:cNvPr>
          <p:cNvSpPr txBox="1"/>
          <p:nvPr/>
        </p:nvSpPr>
        <p:spPr>
          <a:xfrm>
            <a:off x="651605" y="4673601"/>
            <a:ext cx="3356196" cy="369332"/>
          </a:xfrm>
          <a:prstGeom prst="rect">
            <a:avLst/>
          </a:prstGeom>
          <a:noFill/>
        </p:spPr>
        <p:txBody>
          <a:bodyPr wrap="square" rtlCol="0">
            <a:spAutoFit/>
          </a:bodyPr>
          <a:lstStyle/>
          <a:p>
            <a:pPr algn="ctr"/>
            <a:r>
              <a:rPr lang="mn-MN" dirty="0"/>
              <a:t>ЭВГҮЙ ҮНЭР БИЙ БОЛГОНО</a:t>
            </a:r>
            <a:endParaRPr lang="en-GB" dirty="0"/>
          </a:p>
        </p:txBody>
      </p:sp>
      <p:sp>
        <p:nvSpPr>
          <p:cNvPr id="12" name="TextBox 11">
            <a:extLst>
              <a:ext uri="{FF2B5EF4-FFF2-40B4-BE49-F238E27FC236}">
                <a16:creationId xmlns:a16="http://schemas.microsoft.com/office/drawing/2014/main" id="{E4CA127F-58C9-4E09-AC05-2BCAC4FE6914}"/>
              </a:ext>
            </a:extLst>
          </p:cNvPr>
          <p:cNvSpPr txBox="1"/>
          <p:nvPr/>
        </p:nvSpPr>
        <p:spPr>
          <a:xfrm>
            <a:off x="4229263" y="4673600"/>
            <a:ext cx="3367087" cy="369332"/>
          </a:xfrm>
          <a:prstGeom prst="rect">
            <a:avLst/>
          </a:prstGeom>
          <a:noFill/>
        </p:spPr>
        <p:txBody>
          <a:bodyPr wrap="square" rtlCol="0">
            <a:spAutoFit/>
          </a:bodyPr>
          <a:lstStyle/>
          <a:p>
            <a:pPr algn="ctr"/>
            <a:r>
              <a:rPr lang="mn-MN" dirty="0"/>
              <a:t>МЭРЭГЧ АМЬТАД ЦУГЛАРНА</a:t>
            </a:r>
            <a:endParaRPr lang="en-GB" dirty="0"/>
          </a:p>
        </p:txBody>
      </p:sp>
      <p:pic>
        <p:nvPicPr>
          <p:cNvPr id="13" name="Content Placeholder 10">
            <a:extLst>
              <a:ext uri="{FF2B5EF4-FFF2-40B4-BE49-F238E27FC236}">
                <a16:creationId xmlns:a16="http://schemas.microsoft.com/office/drawing/2014/main" id="{1F804613-BFD8-47B9-A66E-A3B49162B9F4}"/>
              </a:ext>
            </a:extLst>
          </p:cNvPr>
          <p:cNvPicPr>
            <a:picLocks noChangeAspect="1"/>
          </p:cNvPicPr>
          <p:nvPr/>
        </p:nvPicPr>
        <p:blipFill>
          <a:blip r:embed="rId4"/>
          <a:srcRect/>
          <a:stretch/>
        </p:blipFill>
        <p:spPr>
          <a:xfrm>
            <a:off x="8184200" y="2126230"/>
            <a:ext cx="3514412" cy="2253702"/>
          </a:xfrm>
          <a:prstGeom prst="rect">
            <a:avLst/>
          </a:prstGeom>
        </p:spPr>
      </p:pic>
      <p:sp>
        <p:nvSpPr>
          <p:cNvPr id="14" name="TextBox 13">
            <a:extLst>
              <a:ext uri="{FF2B5EF4-FFF2-40B4-BE49-F238E27FC236}">
                <a16:creationId xmlns:a16="http://schemas.microsoft.com/office/drawing/2014/main" id="{35BF1DC2-2DC9-44CA-AEA8-77F2E51E8E51}"/>
              </a:ext>
            </a:extLst>
          </p:cNvPr>
          <p:cNvSpPr txBox="1"/>
          <p:nvPr/>
        </p:nvSpPr>
        <p:spPr>
          <a:xfrm>
            <a:off x="8184200" y="4673600"/>
            <a:ext cx="3367087" cy="369332"/>
          </a:xfrm>
          <a:prstGeom prst="rect">
            <a:avLst/>
          </a:prstGeom>
          <a:noFill/>
        </p:spPr>
        <p:txBody>
          <a:bodyPr wrap="square" rtlCol="0">
            <a:spAutoFit/>
          </a:bodyPr>
          <a:lstStyle/>
          <a:p>
            <a:pPr algn="ctr"/>
            <a:r>
              <a:rPr lang="mn-MN" dirty="0"/>
              <a:t>ЯЛАА ЦУГЛАРНА</a:t>
            </a:r>
            <a:endParaRPr lang="en-GB" dirty="0"/>
          </a:p>
        </p:txBody>
      </p:sp>
      <p:sp>
        <p:nvSpPr>
          <p:cNvPr id="3" name="TextBox 2">
            <a:extLst>
              <a:ext uri="{FF2B5EF4-FFF2-40B4-BE49-F238E27FC236}">
                <a16:creationId xmlns:a16="http://schemas.microsoft.com/office/drawing/2014/main" id="{C226FB4A-7C02-4EB7-A892-5697309E8F49}"/>
              </a:ext>
            </a:extLst>
          </p:cNvPr>
          <p:cNvSpPr txBox="1"/>
          <p:nvPr/>
        </p:nvSpPr>
        <p:spPr>
          <a:xfrm>
            <a:off x="651605" y="1416614"/>
            <a:ext cx="10760107" cy="369332"/>
          </a:xfrm>
          <a:prstGeom prst="rect">
            <a:avLst/>
          </a:prstGeom>
          <a:noFill/>
        </p:spPr>
        <p:txBody>
          <a:bodyPr wrap="square" rtlCol="0">
            <a:spAutoFit/>
          </a:bodyPr>
          <a:lstStyle/>
          <a:p>
            <a:pPr algn="ctr"/>
            <a:r>
              <a:rPr lang="mn-MN" dirty="0"/>
              <a:t>Хүнсний хаягдлын менежментийг зөв хийхгүй байх нь олон сөрөг үр дагавартай. Тухайлбал</a:t>
            </a:r>
            <a:r>
              <a:rPr lang="en-GB" dirty="0"/>
              <a:t>:</a:t>
            </a:r>
          </a:p>
        </p:txBody>
      </p:sp>
    </p:spTree>
    <p:extLst>
      <p:ext uri="{BB962C8B-B14F-4D97-AF65-F5344CB8AC3E}">
        <p14:creationId xmlns:p14="http://schemas.microsoft.com/office/powerpoint/2010/main" val="9227360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3227D-D62C-47D9-944D-40C9025508F6}"/>
              </a:ext>
            </a:extLst>
          </p:cNvPr>
          <p:cNvSpPr>
            <a:spLocks noGrp="1"/>
          </p:cNvSpPr>
          <p:nvPr>
            <p:ph type="title"/>
          </p:nvPr>
        </p:nvSpPr>
        <p:spPr>
          <a:xfrm>
            <a:off x="343957" y="359999"/>
            <a:ext cx="6020747" cy="587128"/>
          </a:xfrm>
        </p:spPr>
        <p:txBody>
          <a:bodyPr>
            <a:normAutofit/>
          </a:bodyPr>
          <a:lstStyle/>
          <a:p>
            <a:r>
              <a:rPr lang="mn-MN" dirty="0"/>
              <a:t>ХҮНСНИЙ ХАЯГДАЛ</a:t>
            </a:r>
            <a:r>
              <a:rPr lang="en-GB" dirty="0"/>
              <a:t>!</a:t>
            </a:r>
          </a:p>
        </p:txBody>
      </p:sp>
      <p:sp>
        <p:nvSpPr>
          <p:cNvPr id="4" name="Slide Number Placeholder 3">
            <a:extLst>
              <a:ext uri="{FF2B5EF4-FFF2-40B4-BE49-F238E27FC236}">
                <a16:creationId xmlns:a16="http://schemas.microsoft.com/office/drawing/2014/main" id="{551A75AD-D3EE-472E-9114-7AF67AA8C267}"/>
              </a:ext>
            </a:extLst>
          </p:cNvPr>
          <p:cNvSpPr>
            <a:spLocks noGrp="1"/>
          </p:cNvSpPr>
          <p:nvPr>
            <p:ph type="sldNum" sz="quarter" idx="12"/>
          </p:nvPr>
        </p:nvSpPr>
        <p:spPr/>
        <p:txBody>
          <a:bodyPr/>
          <a:lstStyle/>
          <a:p>
            <a:fld id="{22BD14A0-459B-CA46-A763-3163F186A6C2}" type="slidenum">
              <a:rPr lang="en-US" smtClean="0"/>
              <a:t>14</a:t>
            </a:fld>
            <a:endParaRPr lang="en-US"/>
          </a:p>
        </p:txBody>
      </p:sp>
      <p:pic>
        <p:nvPicPr>
          <p:cNvPr id="8" name="Picture 7">
            <a:extLst>
              <a:ext uri="{FF2B5EF4-FFF2-40B4-BE49-F238E27FC236}">
                <a16:creationId xmlns:a16="http://schemas.microsoft.com/office/drawing/2014/main" id="{7DB66D64-95FC-47CB-A243-DBAFCF9D1EEE}"/>
              </a:ext>
            </a:extLst>
          </p:cNvPr>
          <p:cNvPicPr>
            <a:picLocks noChangeAspect="1"/>
          </p:cNvPicPr>
          <p:nvPr/>
        </p:nvPicPr>
        <p:blipFill>
          <a:blip r:embed="rId2"/>
          <a:stretch>
            <a:fillRect/>
          </a:stretch>
        </p:blipFill>
        <p:spPr>
          <a:xfrm>
            <a:off x="3705273" y="947126"/>
            <a:ext cx="6213561" cy="4963748"/>
          </a:xfrm>
          <a:prstGeom prst="rect">
            <a:avLst/>
          </a:prstGeom>
        </p:spPr>
      </p:pic>
    </p:spTree>
    <p:extLst>
      <p:ext uri="{BB962C8B-B14F-4D97-AF65-F5344CB8AC3E}">
        <p14:creationId xmlns:p14="http://schemas.microsoft.com/office/powerpoint/2010/main" val="15323159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7C52A-DC73-46C9-9063-21470EC1104A}"/>
              </a:ext>
            </a:extLst>
          </p:cNvPr>
          <p:cNvSpPr>
            <a:spLocks noGrp="1"/>
          </p:cNvSpPr>
          <p:nvPr>
            <p:ph type="title"/>
          </p:nvPr>
        </p:nvSpPr>
        <p:spPr/>
        <p:txBody>
          <a:bodyPr/>
          <a:lstStyle/>
          <a:p>
            <a:r>
              <a:rPr lang="mn-MN" dirty="0"/>
              <a:t>ХҮНСНИЙ ХАЯГДАЛТАЙ ХОЛБООТОЙ АСУУДЛУУД</a:t>
            </a:r>
            <a:endParaRPr lang="en-GB" dirty="0"/>
          </a:p>
        </p:txBody>
      </p:sp>
      <p:sp>
        <p:nvSpPr>
          <p:cNvPr id="4" name="Slide Number Placeholder 3">
            <a:extLst>
              <a:ext uri="{FF2B5EF4-FFF2-40B4-BE49-F238E27FC236}">
                <a16:creationId xmlns:a16="http://schemas.microsoft.com/office/drawing/2014/main" id="{04E50FEC-B264-4B86-B9B3-769E9F45C868}"/>
              </a:ext>
            </a:extLst>
          </p:cNvPr>
          <p:cNvSpPr>
            <a:spLocks noGrp="1"/>
          </p:cNvSpPr>
          <p:nvPr>
            <p:ph type="sldNum" sz="quarter" idx="12"/>
          </p:nvPr>
        </p:nvSpPr>
        <p:spPr/>
        <p:txBody>
          <a:bodyPr/>
          <a:lstStyle/>
          <a:p>
            <a:fld id="{22BD14A0-459B-CA46-A763-3163F186A6C2}" type="slidenum">
              <a:rPr lang="en-US" smtClean="0"/>
              <a:t>15</a:t>
            </a:fld>
            <a:endParaRPr lang="en-US"/>
          </a:p>
        </p:txBody>
      </p:sp>
      <p:pic>
        <p:nvPicPr>
          <p:cNvPr id="3" name="1 - Food wastage footprint FAO">
            <a:hlinkClick r:id="" action="ppaction://media"/>
            <a:extLst>
              <a:ext uri="{FF2B5EF4-FFF2-40B4-BE49-F238E27FC236}">
                <a16:creationId xmlns:a16="http://schemas.microsoft.com/office/drawing/2014/main" id="{D94CA4D7-3C59-2D42-0739-1911FCEE0402}"/>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5"/>
          <a:stretch>
            <a:fillRect/>
          </a:stretch>
        </p:blipFill>
        <p:spPr>
          <a:xfrm>
            <a:off x="2233410" y="1358900"/>
            <a:ext cx="7366000" cy="4140200"/>
          </a:xfrm>
        </p:spPr>
      </p:pic>
    </p:spTree>
    <p:extLst>
      <p:ext uri="{BB962C8B-B14F-4D97-AF65-F5344CB8AC3E}">
        <p14:creationId xmlns:p14="http://schemas.microsoft.com/office/powerpoint/2010/main" val="1891668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95489"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0180BA5-43D0-4687-BD71-8D4B5A9B65A4}"/>
              </a:ext>
            </a:extLst>
          </p:cNvPr>
          <p:cNvSpPr>
            <a:spLocks noGrp="1"/>
          </p:cNvSpPr>
          <p:nvPr>
            <p:ph type="title"/>
          </p:nvPr>
        </p:nvSpPr>
        <p:spPr>
          <a:xfrm>
            <a:off x="359999" y="360000"/>
            <a:ext cx="11512694" cy="1033371"/>
          </a:xfrm>
        </p:spPr>
        <p:txBody>
          <a:bodyPr/>
          <a:lstStyle/>
          <a:p>
            <a:r>
              <a:rPr lang="mn-MN" dirty="0"/>
              <a:t>УЛААНБААТАР ХОТЫН НАРАНГИЙН ЭНГЭР ДАХЬ ТӨВЛӨРСӨН ХОГИЙН ЦЭГ</a:t>
            </a:r>
            <a:endParaRPr lang="en-GB" dirty="0"/>
          </a:p>
        </p:txBody>
      </p:sp>
      <p:pic>
        <p:nvPicPr>
          <p:cNvPr id="9" name="Content Placeholder 8">
            <a:extLst>
              <a:ext uri="{FF2B5EF4-FFF2-40B4-BE49-F238E27FC236}">
                <a16:creationId xmlns:a16="http://schemas.microsoft.com/office/drawing/2014/main" id="{B090B1D6-5BA8-4850-B1A5-DBE3207065DD}"/>
              </a:ext>
            </a:extLst>
          </p:cNvPr>
          <p:cNvPicPr>
            <a:picLocks noGrp="1" noChangeAspect="1"/>
          </p:cNvPicPr>
          <p:nvPr>
            <p:ph sz="half" idx="1"/>
          </p:nvPr>
        </p:nvPicPr>
        <p:blipFill>
          <a:blip r:embed="rId2"/>
          <a:srcRect/>
          <a:stretch/>
        </p:blipFill>
        <p:spPr>
          <a:xfrm>
            <a:off x="718961" y="1800000"/>
            <a:ext cx="5161089" cy="3860395"/>
          </a:xfrm>
        </p:spPr>
      </p:pic>
      <p:pic>
        <p:nvPicPr>
          <p:cNvPr id="11" name="Content Placeholder 10">
            <a:extLst>
              <a:ext uri="{FF2B5EF4-FFF2-40B4-BE49-F238E27FC236}">
                <a16:creationId xmlns:a16="http://schemas.microsoft.com/office/drawing/2014/main" id="{6E08AC82-50E6-4672-8035-CBBD41162A80}"/>
              </a:ext>
            </a:extLst>
          </p:cNvPr>
          <p:cNvPicPr>
            <a:picLocks noGrp="1" noChangeAspect="1"/>
          </p:cNvPicPr>
          <p:nvPr>
            <p:ph sz="half" idx="2"/>
          </p:nvPr>
        </p:nvPicPr>
        <p:blipFill>
          <a:blip r:embed="rId3"/>
          <a:srcRect/>
          <a:stretch/>
        </p:blipFill>
        <p:spPr>
          <a:xfrm>
            <a:off x="6600174" y="1800000"/>
            <a:ext cx="4872865" cy="3888643"/>
          </a:xfrm>
        </p:spPr>
      </p:pic>
      <p:sp>
        <p:nvSpPr>
          <p:cNvPr id="4" name="Slide Number Placeholder 3">
            <a:extLst>
              <a:ext uri="{FF2B5EF4-FFF2-40B4-BE49-F238E27FC236}">
                <a16:creationId xmlns:a16="http://schemas.microsoft.com/office/drawing/2014/main" id="{C819BFE6-92CB-4DE4-A1BB-665E55C10F8D}"/>
              </a:ext>
            </a:extLst>
          </p:cNvPr>
          <p:cNvSpPr>
            <a:spLocks noGrp="1"/>
          </p:cNvSpPr>
          <p:nvPr>
            <p:ph type="sldNum" sz="quarter" idx="12"/>
          </p:nvPr>
        </p:nvSpPr>
        <p:spPr/>
        <p:txBody>
          <a:bodyPr/>
          <a:lstStyle/>
          <a:p>
            <a:fld id="{22BD14A0-459B-CA46-A763-3163F186A6C2}" type="slidenum">
              <a:rPr lang="en-US" smtClean="0"/>
              <a:t>16</a:t>
            </a:fld>
            <a:endParaRPr lang="en-US"/>
          </a:p>
        </p:txBody>
      </p:sp>
    </p:spTree>
    <p:extLst>
      <p:ext uri="{BB962C8B-B14F-4D97-AF65-F5344CB8AC3E}">
        <p14:creationId xmlns:p14="http://schemas.microsoft.com/office/powerpoint/2010/main" val="1214440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CC98B-871A-00BB-A3F5-AB1EF9C4FFE2}"/>
              </a:ext>
            </a:extLst>
          </p:cNvPr>
          <p:cNvSpPr>
            <a:spLocks noGrp="1"/>
          </p:cNvSpPr>
          <p:nvPr>
            <p:ph type="title"/>
          </p:nvPr>
        </p:nvSpPr>
        <p:spPr/>
        <p:txBody>
          <a:bodyPr>
            <a:normAutofit/>
          </a:bodyPr>
          <a:lstStyle/>
          <a:p>
            <a:r>
              <a:rPr lang="mn-MN" sz="3400" dirty="0"/>
              <a:t>ХҮНСНИЙ ХАЯГДАЛ БОЛОН УУР АМЬСГАЛЫН ӨӨРЧЛӨЛТ</a:t>
            </a:r>
            <a:endParaRPr lang="en-GB" sz="3400" dirty="0"/>
          </a:p>
        </p:txBody>
      </p:sp>
      <p:sp>
        <p:nvSpPr>
          <p:cNvPr id="3" name="Content Placeholder 2">
            <a:extLst>
              <a:ext uri="{FF2B5EF4-FFF2-40B4-BE49-F238E27FC236}">
                <a16:creationId xmlns:a16="http://schemas.microsoft.com/office/drawing/2014/main" id="{F82A2D92-9693-2B40-8269-39ADBC4FB402}"/>
              </a:ext>
            </a:extLst>
          </p:cNvPr>
          <p:cNvSpPr>
            <a:spLocks noGrp="1"/>
          </p:cNvSpPr>
          <p:nvPr>
            <p:ph sz="half" idx="1"/>
          </p:nvPr>
        </p:nvSpPr>
        <p:spPr>
          <a:xfrm>
            <a:off x="359999" y="1175423"/>
            <a:ext cx="8849228" cy="1438383"/>
          </a:xfrm>
        </p:spPr>
        <p:txBody>
          <a:bodyPr>
            <a:normAutofit/>
          </a:bodyPr>
          <a:lstStyle/>
          <a:p>
            <a:r>
              <a:rPr lang="mn-MN" dirty="0"/>
              <a:t>Төвлөрсөн цэгт илжирч муудсан хүнсний хаягдлаас метаны хий ялгардаг</a:t>
            </a:r>
          </a:p>
          <a:p>
            <a:r>
              <a:rPr lang="mn-MN" dirty="0"/>
              <a:t>Метан нь</a:t>
            </a:r>
            <a:r>
              <a:rPr lang="en-GB" dirty="0"/>
              <a:t> </a:t>
            </a:r>
            <a:r>
              <a:rPr lang="mn-MN" dirty="0"/>
              <a:t>хүлэмжийн хий юм</a:t>
            </a:r>
            <a:endParaRPr lang="en-GB" dirty="0"/>
          </a:p>
        </p:txBody>
      </p:sp>
      <p:pic>
        <p:nvPicPr>
          <p:cNvPr id="7" name="Content Placeholder 6" descr="Shape&#10;&#10;Description automatically generated with medium confidence">
            <a:extLst>
              <a:ext uri="{FF2B5EF4-FFF2-40B4-BE49-F238E27FC236}">
                <a16:creationId xmlns:a16="http://schemas.microsoft.com/office/drawing/2014/main" id="{C4C63EB0-D91C-DA22-5CD6-E250AB9441F3}"/>
              </a:ext>
            </a:extLst>
          </p:cNvPr>
          <p:cNvPicPr>
            <a:picLocks noGrp="1" noChangeAspect="1"/>
          </p:cNvPicPr>
          <p:nvPr>
            <p:ph sz="half" idx="2"/>
          </p:nvPr>
        </p:nvPicPr>
        <p:blipFill>
          <a:blip r:embed="rId3" cstate="screen">
            <a:extLst>
              <a:ext uri="{28A0092B-C50C-407E-A947-70E740481C1C}">
                <a14:useLocalDpi xmlns:a14="http://schemas.microsoft.com/office/drawing/2010/main"/>
              </a:ext>
            </a:extLst>
          </a:blip>
          <a:stretch>
            <a:fillRect/>
          </a:stretch>
        </p:blipFill>
        <p:spPr>
          <a:xfrm>
            <a:off x="9598237" y="1026000"/>
            <a:ext cx="1885446" cy="1930696"/>
          </a:xfrm>
        </p:spPr>
      </p:pic>
      <p:sp>
        <p:nvSpPr>
          <p:cNvPr id="5" name="Slide Number Placeholder 4">
            <a:extLst>
              <a:ext uri="{FF2B5EF4-FFF2-40B4-BE49-F238E27FC236}">
                <a16:creationId xmlns:a16="http://schemas.microsoft.com/office/drawing/2014/main" id="{3E3001E6-BA84-7173-DAA0-8D1D3F251E31}"/>
              </a:ext>
            </a:extLst>
          </p:cNvPr>
          <p:cNvSpPr>
            <a:spLocks noGrp="1"/>
          </p:cNvSpPr>
          <p:nvPr>
            <p:ph type="sldNum" sz="quarter" idx="12"/>
          </p:nvPr>
        </p:nvSpPr>
        <p:spPr/>
        <p:txBody>
          <a:bodyPr/>
          <a:lstStyle/>
          <a:p>
            <a:fld id="{22BD14A0-459B-CA46-A763-3163F186A6C2}" type="slidenum">
              <a:rPr lang="en-US" smtClean="0"/>
              <a:t>17</a:t>
            </a:fld>
            <a:endParaRPr lang="en-US"/>
          </a:p>
        </p:txBody>
      </p:sp>
      <p:sp>
        <p:nvSpPr>
          <p:cNvPr id="8" name="TextBox 7">
            <a:extLst>
              <a:ext uri="{FF2B5EF4-FFF2-40B4-BE49-F238E27FC236}">
                <a16:creationId xmlns:a16="http://schemas.microsoft.com/office/drawing/2014/main" id="{887EFA3D-F543-E776-CBB1-E4874C318585}"/>
              </a:ext>
            </a:extLst>
          </p:cNvPr>
          <p:cNvSpPr txBox="1"/>
          <p:nvPr/>
        </p:nvSpPr>
        <p:spPr>
          <a:xfrm>
            <a:off x="256529" y="2902627"/>
            <a:ext cx="11263730" cy="461665"/>
          </a:xfrm>
          <a:prstGeom prst="rect">
            <a:avLst/>
          </a:prstGeom>
          <a:noFill/>
        </p:spPr>
        <p:txBody>
          <a:bodyPr wrap="square" rtlCol="0">
            <a:spAutoFit/>
          </a:bodyPr>
          <a:lstStyle/>
          <a:p>
            <a:pPr algn="ctr"/>
            <a:r>
              <a:rPr lang="en-GB" sz="2400" b="1" dirty="0">
                <a:solidFill>
                  <a:schemeClr val="accent5">
                    <a:lumMod val="50000"/>
                  </a:schemeClr>
                </a:solidFill>
              </a:rPr>
              <a:t>2022</a:t>
            </a:r>
            <a:r>
              <a:rPr lang="mn-MN" sz="2400" b="1" dirty="0">
                <a:solidFill>
                  <a:schemeClr val="accent5">
                    <a:lumMod val="50000"/>
                  </a:schemeClr>
                </a:solidFill>
              </a:rPr>
              <a:t> оны 10-Р сарын 26-ны өдрийн НҮБ-ийн Тайлан</a:t>
            </a:r>
          </a:p>
        </p:txBody>
      </p:sp>
      <p:sp>
        <p:nvSpPr>
          <p:cNvPr id="12" name="TextBox 11">
            <a:extLst>
              <a:ext uri="{FF2B5EF4-FFF2-40B4-BE49-F238E27FC236}">
                <a16:creationId xmlns:a16="http://schemas.microsoft.com/office/drawing/2014/main" id="{A2EE4B75-1A8E-0265-1A0B-43CB453F1ADB}"/>
              </a:ext>
            </a:extLst>
          </p:cNvPr>
          <p:cNvSpPr txBox="1"/>
          <p:nvPr/>
        </p:nvSpPr>
        <p:spPr>
          <a:xfrm>
            <a:off x="5138928" y="5664740"/>
            <a:ext cx="6733765" cy="369332"/>
          </a:xfrm>
          <a:prstGeom prst="rect">
            <a:avLst/>
          </a:prstGeom>
          <a:noFill/>
        </p:spPr>
        <p:txBody>
          <a:bodyPr wrap="square">
            <a:spAutoFit/>
          </a:bodyPr>
          <a:lstStyle/>
          <a:p>
            <a:r>
              <a:rPr lang="mn-MN" i="1" dirty="0"/>
              <a:t>Эх үүсвэр:   </a:t>
            </a:r>
            <a:r>
              <a:rPr lang="en-GB" dirty="0">
                <a:solidFill>
                  <a:schemeClr val="accent5">
                    <a:lumMod val="50000"/>
                  </a:schemeClr>
                </a:solidFill>
              </a:rPr>
              <a:t>https://news.un.org/en/story/2022/10/1129887</a:t>
            </a:r>
          </a:p>
        </p:txBody>
      </p:sp>
      <p:pic>
        <p:nvPicPr>
          <p:cNvPr id="6" name="Picture 5">
            <a:extLst>
              <a:ext uri="{FF2B5EF4-FFF2-40B4-BE49-F238E27FC236}">
                <a16:creationId xmlns:a16="http://schemas.microsoft.com/office/drawing/2014/main" id="{E6815D9E-8390-4441-9EC8-EED23928BBED}"/>
              </a:ext>
            </a:extLst>
          </p:cNvPr>
          <p:cNvPicPr>
            <a:picLocks noChangeAspect="1"/>
          </p:cNvPicPr>
          <p:nvPr/>
        </p:nvPicPr>
        <p:blipFill>
          <a:blip r:embed="rId4"/>
          <a:stretch>
            <a:fillRect/>
          </a:stretch>
        </p:blipFill>
        <p:spPr>
          <a:xfrm>
            <a:off x="515870" y="3429000"/>
            <a:ext cx="11160260" cy="2310084"/>
          </a:xfrm>
          <a:prstGeom prst="rect">
            <a:avLst/>
          </a:prstGeom>
        </p:spPr>
      </p:pic>
    </p:spTree>
    <p:extLst>
      <p:ext uri="{BB962C8B-B14F-4D97-AF65-F5344CB8AC3E}">
        <p14:creationId xmlns:p14="http://schemas.microsoft.com/office/powerpoint/2010/main" val="10580978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5534C-B541-A8F5-BE50-E2F783ED38CF}"/>
              </a:ext>
            </a:extLst>
          </p:cNvPr>
          <p:cNvSpPr>
            <a:spLocks noGrp="1"/>
          </p:cNvSpPr>
          <p:nvPr>
            <p:ph type="title"/>
          </p:nvPr>
        </p:nvSpPr>
        <p:spPr>
          <a:xfrm>
            <a:off x="359999" y="360000"/>
            <a:ext cx="11512694" cy="792143"/>
          </a:xfrm>
        </p:spPr>
        <p:txBody>
          <a:bodyPr>
            <a:normAutofit fontScale="90000"/>
          </a:bodyPr>
          <a:lstStyle/>
          <a:p>
            <a:r>
              <a:rPr lang="mn-MN" dirty="0"/>
              <a:t>ХҮНСНИЙ ХАЯГДЛЫГ ТӨВЛӨРСӨН ЦЭГТ ХАЯХААС ЗАЙЛСХИЙХ НЬ</a:t>
            </a:r>
            <a:endParaRPr lang="en-GB" dirty="0"/>
          </a:p>
        </p:txBody>
      </p:sp>
      <p:sp>
        <p:nvSpPr>
          <p:cNvPr id="3" name="Content Placeholder 2">
            <a:extLst>
              <a:ext uri="{FF2B5EF4-FFF2-40B4-BE49-F238E27FC236}">
                <a16:creationId xmlns:a16="http://schemas.microsoft.com/office/drawing/2014/main" id="{03C44B8B-F2F5-C26D-CB1C-320242B3D417}"/>
              </a:ext>
            </a:extLst>
          </p:cNvPr>
          <p:cNvSpPr>
            <a:spLocks noGrp="1"/>
          </p:cNvSpPr>
          <p:nvPr>
            <p:ph sz="half" idx="1"/>
          </p:nvPr>
        </p:nvSpPr>
        <p:spPr>
          <a:xfrm>
            <a:off x="359999" y="1510088"/>
            <a:ext cx="6323193" cy="4193128"/>
          </a:xfrm>
        </p:spPr>
        <p:txBody>
          <a:bodyPr>
            <a:normAutofit fontScale="92500" lnSpcReduction="10000"/>
          </a:bodyPr>
          <a:lstStyle/>
          <a:p>
            <a:pPr marL="0" indent="0">
              <a:buNone/>
            </a:pPr>
            <a:r>
              <a:rPr lang="mn-MN" sz="2400" dirty="0"/>
              <a:t>Дараахь зүйлсийг харгалзан үзэх хэрэгтэй. Үүнд</a:t>
            </a:r>
            <a:r>
              <a:rPr lang="en-GB" sz="2400" dirty="0"/>
              <a:t>:</a:t>
            </a:r>
          </a:p>
          <a:p>
            <a:r>
              <a:rPr lang="mn-MN" sz="2400" dirty="0"/>
              <a:t>Хүнсний хаягдлын хэмжээг багасгах</a:t>
            </a:r>
            <a:endParaRPr lang="en-GB" sz="2400" dirty="0"/>
          </a:p>
          <a:p>
            <a:r>
              <a:rPr lang="mn-MN" sz="2400" dirty="0"/>
              <a:t>Хүнсний хаягдлын бүтцийн суурь судалгаа хийх</a:t>
            </a:r>
            <a:endParaRPr lang="en-GB" sz="2400" dirty="0"/>
          </a:p>
          <a:p>
            <a:r>
              <a:rPr lang="mn-MN" sz="2400" dirty="0"/>
              <a:t>Хаягдлыг эх үүсвэр дээр багасгах</a:t>
            </a:r>
            <a:endParaRPr lang="en-GB" sz="2400" dirty="0"/>
          </a:p>
          <a:p>
            <a:r>
              <a:rPr lang="mn-MN" sz="2400" dirty="0"/>
              <a:t>Хаанаас хаягдаж байгааг тодорхойлох</a:t>
            </a:r>
            <a:endParaRPr lang="en-GB" sz="2400" dirty="0"/>
          </a:p>
          <a:p>
            <a:r>
              <a:rPr lang="mn-MN" sz="2400" dirty="0"/>
              <a:t>Хаягдлыг хэрхэн цуглуулж болох боломжуудыг тодорхойлох</a:t>
            </a:r>
            <a:endParaRPr lang="en-GB" sz="2400" dirty="0"/>
          </a:p>
          <a:p>
            <a:r>
              <a:rPr lang="mn-MN" sz="2400" dirty="0"/>
              <a:t>Хаягдлыг дахин ашиглах арга, технологийг тодорхойлох</a:t>
            </a:r>
            <a:endParaRPr lang="en-GB" sz="2400" dirty="0"/>
          </a:p>
          <a:p>
            <a:r>
              <a:rPr lang="mn-MN" sz="2400" dirty="0"/>
              <a:t>Иргэдийн хандлага, ухамсрыг нэмэгдүүлэх</a:t>
            </a:r>
            <a:endParaRPr lang="en-GB" sz="2400" dirty="0"/>
          </a:p>
        </p:txBody>
      </p:sp>
      <p:sp>
        <p:nvSpPr>
          <p:cNvPr id="5" name="Slide Number Placeholder 4">
            <a:extLst>
              <a:ext uri="{FF2B5EF4-FFF2-40B4-BE49-F238E27FC236}">
                <a16:creationId xmlns:a16="http://schemas.microsoft.com/office/drawing/2014/main" id="{BB779F70-8D22-CC68-00A0-25DFB0BC8DE0}"/>
              </a:ext>
            </a:extLst>
          </p:cNvPr>
          <p:cNvSpPr>
            <a:spLocks noGrp="1"/>
          </p:cNvSpPr>
          <p:nvPr>
            <p:ph type="sldNum" sz="quarter" idx="12"/>
          </p:nvPr>
        </p:nvSpPr>
        <p:spPr/>
        <p:txBody>
          <a:bodyPr/>
          <a:lstStyle/>
          <a:p>
            <a:fld id="{22BD14A0-459B-CA46-A763-3163F186A6C2}" type="slidenum">
              <a:rPr lang="en-US" smtClean="0"/>
              <a:t>18</a:t>
            </a:fld>
            <a:endParaRPr lang="en-US"/>
          </a:p>
        </p:txBody>
      </p:sp>
      <p:sp>
        <p:nvSpPr>
          <p:cNvPr id="6" name="Snip Single Corner Rectangle 118">
            <a:extLst>
              <a:ext uri="{FF2B5EF4-FFF2-40B4-BE49-F238E27FC236}">
                <a16:creationId xmlns:a16="http://schemas.microsoft.com/office/drawing/2014/main" id="{6E585648-630F-6604-0323-82ECEEC5D1A1}"/>
              </a:ext>
            </a:extLst>
          </p:cNvPr>
          <p:cNvSpPr>
            <a:spLocks noGrp="1"/>
          </p:cNvSpPr>
          <p:nvPr>
            <p:ph sz="half" idx="2"/>
          </p:nvPr>
        </p:nvSpPr>
        <p:spPr>
          <a:xfrm>
            <a:off x="6400800" y="823859"/>
            <a:ext cx="5650992" cy="5045141"/>
          </a:xfrm>
          <a:prstGeom prst="snip1Rect">
            <a:avLst/>
          </a:prstGeom>
          <a:gradFill flip="none" rotWithShape="1">
            <a:gsLst>
              <a:gs pos="0">
                <a:schemeClr val="tx2">
                  <a:lumMod val="60000"/>
                  <a:lumOff val="40000"/>
                  <a:alpha val="20000"/>
                </a:schemeClr>
              </a:gs>
              <a:gs pos="100000">
                <a:schemeClr val="tx2">
                  <a:lumMod val="20000"/>
                  <a:lumOff val="80000"/>
                  <a:alpha val="20000"/>
                </a:schemeClr>
              </a:gs>
            </a:gsLst>
            <a:lin ang="5400000" scaled="0"/>
            <a:tileRect/>
          </a:gradFill>
          <a:ln w="19050">
            <a:solidFill>
              <a:schemeClr val="accent2">
                <a:lumMod val="75000"/>
              </a:schemeClr>
            </a:solidFill>
          </a:ln>
        </p:spPr>
        <p:style>
          <a:lnRef idx="2">
            <a:schemeClr val="accent1">
              <a:shade val="50000"/>
            </a:schemeClr>
          </a:lnRef>
          <a:fillRef idx="1003">
            <a:schemeClr val="dk2"/>
          </a:fillRef>
          <a:effectRef idx="0">
            <a:schemeClr val="accent1"/>
          </a:effectRef>
          <a:fontRef idx="minor">
            <a:schemeClr val="lt1"/>
          </a:fontRef>
        </p:style>
        <p:txBody>
          <a:bodyPr rot="0" spcFirstLastPara="0" vert="horz" wrap="square" lIns="228600" tIns="91440" rIns="0" bIns="91440" numCol="1" spcCol="0" rtlCol="0" fromWordArt="0" anchor="t" anchorCtr="0" forceAA="0" compatLnSpc="1">
            <a:prstTxWarp prst="textNoShape">
              <a:avLst/>
            </a:prstTxWarp>
            <a:noAutofit/>
          </a:bodyPr>
          <a:lstStyle/>
          <a:p>
            <a:pPr marL="138430" indent="0" algn="ctr">
              <a:lnSpc>
                <a:spcPct val="107000"/>
              </a:lnSpc>
              <a:spcBef>
                <a:spcPts val="0"/>
              </a:spcBef>
              <a:spcAft>
                <a:spcPts val="800"/>
              </a:spcAft>
              <a:buNone/>
            </a:pPr>
            <a:r>
              <a:rPr lang="mn-MN" sz="2400" dirty="0">
                <a:solidFill>
                  <a:schemeClr val="accent2">
                    <a:lumMod val="75000"/>
                  </a:schemeClr>
                </a:solidFill>
                <a:effectLst/>
                <a:ea typeface="Calibri" panose="020F0502020204030204" pitchFamily="34" charset="0"/>
                <a:cs typeface="Mongolian Baiti" panose="03000500000000000000" pitchFamily="66" charset="0"/>
              </a:rPr>
              <a:t>ЭНЭХҮҮ ТӨСЛИЙН ХҮРЭЭНД ТӨВЛӨРСӨН ЦЭГТ ХАЯХААС ЗАЙЛСХИЙЖ БОЛОХ ХАЯГДЛЫН ХЭМЖЭЭ НЬ</a:t>
            </a:r>
            <a:endParaRPr lang="en-GB" sz="2400" dirty="0">
              <a:solidFill>
                <a:schemeClr val="accent2">
                  <a:lumMod val="75000"/>
                </a:schemeClr>
              </a:solidFill>
              <a:effectLst/>
              <a:ea typeface="Calibri" panose="020F0502020204030204" pitchFamily="34" charset="0"/>
              <a:cs typeface="Mongolian Baiti" panose="03000500000000000000" pitchFamily="66" charset="0"/>
            </a:endParaRPr>
          </a:p>
          <a:p>
            <a:pPr marL="138430" indent="0" algn="ctr">
              <a:lnSpc>
                <a:spcPct val="107000"/>
              </a:lnSpc>
              <a:spcAft>
                <a:spcPts val="800"/>
              </a:spcAft>
              <a:buNone/>
            </a:pPr>
            <a:r>
              <a:rPr lang="mn-MN" sz="2400" dirty="0">
                <a:solidFill>
                  <a:schemeClr val="accent2">
                    <a:lumMod val="75000"/>
                  </a:schemeClr>
                </a:solidFill>
                <a:effectLst/>
                <a:ea typeface="Calibri" panose="020F0502020204030204" pitchFamily="34" charset="0"/>
                <a:cs typeface="Mongolian Baiti" panose="03000500000000000000" pitchFamily="66" charset="0"/>
              </a:rPr>
              <a:t>Жилд</a:t>
            </a:r>
            <a:r>
              <a:rPr lang="en-GB" sz="2400" dirty="0">
                <a:solidFill>
                  <a:schemeClr val="accent2">
                    <a:lumMod val="75000"/>
                  </a:schemeClr>
                </a:solidFill>
                <a:effectLst/>
                <a:ea typeface="Calibri" panose="020F0502020204030204" pitchFamily="34" charset="0"/>
                <a:cs typeface="Mongolian Baiti" panose="03000500000000000000" pitchFamily="66" charset="0"/>
              </a:rPr>
              <a:t> </a:t>
            </a:r>
            <a:r>
              <a:rPr lang="en-GB" sz="3600" dirty="0">
                <a:solidFill>
                  <a:schemeClr val="accent2">
                    <a:lumMod val="75000"/>
                  </a:schemeClr>
                </a:solidFill>
                <a:effectLst/>
                <a:ea typeface="Calibri" panose="020F0502020204030204" pitchFamily="34" charset="0"/>
                <a:cs typeface="Mongolian Baiti" panose="03000500000000000000" pitchFamily="66" charset="0"/>
              </a:rPr>
              <a:t>900 </a:t>
            </a:r>
            <a:r>
              <a:rPr lang="mn-MN" sz="2400" dirty="0">
                <a:solidFill>
                  <a:schemeClr val="accent2">
                    <a:lumMod val="75000"/>
                  </a:schemeClr>
                </a:solidFill>
                <a:effectLst/>
                <a:ea typeface="Calibri" panose="020F0502020204030204" pitchFamily="34" charset="0"/>
                <a:cs typeface="Mongolian Baiti" panose="03000500000000000000" pitchFamily="66" charset="0"/>
              </a:rPr>
              <a:t>гаран тонн.</a:t>
            </a:r>
            <a:endParaRPr lang="en-GB" sz="2400" dirty="0">
              <a:solidFill>
                <a:schemeClr val="accent2">
                  <a:lumMod val="75000"/>
                </a:schemeClr>
              </a:solidFill>
              <a:effectLst/>
              <a:ea typeface="Calibri" panose="020F0502020204030204" pitchFamily="34" charset="0"/>
              <a:cs typeface="Mongolian Baiti" panose="03000500000000000000" pitchFamily="66" charset="0"/>
            </a:endParaRPr>
          </a:p>
          <a:p>
            <a:pPr marL="138430" indent="0" algn="ctr">
              <a:lnSpc>
                <a:spcPct val="107000"/>
              </a:lnSpc>
              <a:spcAft>
                <a:spcPts val="800"/>
              </a:spcAft>
              <a:buNone/>
            </a:pPr>
            <a:r>
              <a:rPr lang="mn-MN" sz="2400" dirty="0">
                <a:solidFill>
                  <a:schemeClr val="accent2">
                    <a:lumMod val="75000"/>
                  </a:schemeClr>
                </a:solidFill>
                <a:cs typeface="Mongolian Baiti" panose="03000500000000000000" pitchFamily="66" charset="0"/>
              </a:rPr>
              <a:t>Энэ нь Үндэсний хэмжээнд тодорхойлсон хувь нэмэр </a:t>
            </a:r>
            <a:r>
              <a:rPr lang="en-GB" sz="2400" dirty="0">
                <a:solidFill>
                  <a:schemeClr val="accent2">
                    <a:lumMod val="75000"/>
                  </a:schemeClr>
                </a:solidFill>
                <a:cs typeface="Mongolian Baiti" panose="03000500000000000000" pitchFamily="66" charset="0"/>
              </a:rPr>
              <a:t>(NDC)-</a:t>
            </a:r>
            <a:r>
              <a:rPr lang="mn-MN" sz="2400" dirty="0">
                <a:solidFill>
                  <a:schemeClr val="accent2">
                    <a:lumMod val="75000"/>
                  </a:schemeClr>
                </a:solidFill>
                <a:cs typeface="Mongolian Baiti" panose="03000500000000000000" pitchFamily="66" charset="0"/>
              </a:rPr>
              <a:t>т хүлэмжийн хийг жилд </a:t>
            </a:r>
            <a:r>
              <a:rPr lang="en-GB" sz="3600" dirty="0">
                <a:solidFill>
                  <a:schemeClr val="accent2">
                    <a:lumMod val="75000"/>
                  </a:schemeClr>
                </a:solidFill>
                <a:effectLst/>
                <a:ea typeface="Calibri" panose="020F0502020204030204" pitchFamily="34" charset="0"/>
                <a:cs typeface="Mongolian Baiti" panose="03000500000000000000" pitchFamily="66" charset="0"/>
              </a:rPr>
              <a:t>3%</a:t>
            </a:r>
            <a:r>
              <a:rPr lang="en-GB" sz="2400" dirty="0">
                <a:solidFill>
                  <a:schemeClr val="accent2">
                    <a:lumMod val="75000"/>
                  </a:schemeClr>
                </a:solidFill>
                <a:effectLst/>
                <a:ea typeface="Calibri" panose="020F0502020204030204" pitchFamily="34" charset="0"/>
                <a:cs typeface="Mongolian Baiti" panose="03000500000000000000" pitchFamily="66" charset="0"/>
              </a:rPr>
              <a:t> </a:t>
            </a:r>
            <a:r>
              <a:rPr lang="mn-MN" sz="2400" dirty="0">
                <a:solidFill>
                  <a:schemeClr val="accent2">
                    <a:lumMod val="75000"/>
                  </a:schemeClr>
                </a:solidFill>
                <a:ea typeface="Calibri" panose="020F0502020204030204" pitchFamily="34" charset="0"/>
                <a:cs typeface="Mongolian Baiti" panose="03000500000000000000" pitchFamily="66" charset="0"/>
              </a:rPr>
              <a:t>-иар бууруулах ач холбогдолтой</a:t>
            </a:r>
            <a:r>
              <a:rPr lang="en-GB" sz="2400" dirty="0">
                <a:solidFill>
                  <a:schemeClr val="accent2">
                    <a:lumMod val="75000"/>
                  </a:schemeClr>
                </a:solidFill>
                <a:ea typeface="Calibri" panose="020F0502020204030204" pitchFamily="34" charset="0"/>
                <a:cs typeface="Mongolian Baiti" panose="03000500000000000000" pitchFamily="66" charset="0"/>
              </a:rPr>
              <a:t>.</a:t>
            </a:r>
            <a:endParaRPr lang="en-GB" sz="2400" dirty="0">
              <a:solidFill>
                <a:schemeClr val="accent2">
                  <a:lumMod val="75000"/>
                </a:schemeClr>
              </a:solidFill>
              <a:effectLst/>
              <a:ea typeface="Calibri" panose="020F0502020204030204" pitchFamily="34" charset="0"/>
              <a:cs typeface="Mongolian Baiti" panose="03000500000000000000" pitchFamily="66" charset="0"/>
            </a:endParaRPr>
          </a:p>
        </p:txBody>
      </p:sp>
    </p:spTree>
    <p:extLst>
      <p:ext uri="{BB962C8B-B14F-4D97-AF65-F5344CB8AC3E}">
        <p14:creationId xmlns:p14="http://schemas.microsoft.com/office/powerpoint/2010/main" val="5344730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1D4D7-A790-496C-9DE6-8F8863938311}"/>
              </a:ext>
            </a:extLst>
          </p:cNvPr>
          <p:cNvSpPr>
            <a:spLocks noGrp="1"/>
          </p:cNvSpPr>
          <p:nvPr>
            <p:ph type="title"/>
          </p:nvPr>
        </p:nvSpPr>
        <p:spPr/>
        <p:txBody>
          <a:bodyPr/>
          <a:lstStyle/>
          <a:p>
            <a:r>
              <a:rPr lang="mn-MN" dirty="0"/>
              <a:t>АСУУЛТ БАЙНА УУ</a:t>
            </a:r>
            <a:r>
              <a:rPr lang="en-GB" dirty="0"/>
              <a:t>?</a:t>
            </a:r>
          </a:p>
        </p:txBody>
      </p:sp>
      <p:sp>
        <p:nvSpPr>
          <p:cNvPr id="4" name="Slide Number Placeholder 3">
            <a:extLst>
              <a:ext uri="{FF2B5EF4-FFF2-40B4-BE49-F238E27FC236}">
                <a16:creationId xmlns:a16="http://schemas.microsoft.com/office/drawing/2014/main" id="{53C86A2B-2CC3-4AE1-A384-932E65DC5E78}"/>
              </a:ext>
            </a:extLst>
          </p:cNvPr>
          <p:cNvSpPr>
            <a:spLocks noGrp="1"/>
          </p:cNvSpPr>
          <p:nvPr>
            <p:ph type="sldNum" sz="quarter" idx="12"/>
          </p:nvPr>
        </p:nvSpPr>
        <p:spPr/>
        <p:txBody>
          <a:bodyPr/>
          <a:lstStyle/>
          <a:p>
            <a:fld id="{22BD14A0-459B-CA46-A763-3163F186A6C2}" type="slidenum">
              <a:rPr lang="en-US" smtClean="0"/>
              <a:t>19</a:t>
            </a:fld>
            <a:endParaRPr lang="en-US"/>
          </a:p>
        </p:txBody>
      </p:sp>
      <p:sp>
        <p:nvSpPr>
          <p:cNvPr id="66" name="Speech Bubble: Oval 65">
            <a:extLst>
              <a:ext uri="{FF2B5EF4-FFF2-40B4-BE49-F238E27FC236}">
                <a16:creationId xmlns:a16="http://schemas.microsoft.com/office/drawing/2014/main" id="{A47347F8-13E9-41CD-9CC0-9AB6B0AB5C1D}"/>
              </a:ext>
            </a:extLst>
          </p:cNvPr>
          <p:cNvSpPr/>
          <p:nvPr/>
        </p:nvSpPr>
        <p:spPr>
          <a:xfrm>
            <a:off x="574734" y="2333856"/>
            <a:ext cx="2624359" cy="1408607"/>
          </a:xfrm>
          <a:prstGeom prst="wedgeEllipseCallout">
            <a:avLst>
              <a:gd name="adj1" fmla="val 107972"/>
              <a:gd name="adj2" fmla="val 57411"/>
            </a:avLst>
          </a:prstGeom>
          <a:solidFill>
            <a:schemeClr val="accent5">
              <a:lumMod val="25000"/>
            </a:schemeClr>
          </a:soli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b="1" dirty="0"/>
              <a:t>ХҮНСНИЙ ХАЯГДАЛ ГЭЖ ЮУ ВЭ</a:t>
            </a:r>
            <a:r>
              <a:rPr lang="en-GB" b="1" dirty="0"/>
              <a:t>?</a:t>
            </a:r>
          </a:p>
        </p:txBody>
      </p:sp>
      <p:sp>
        <p:nvSpPr>
          <p:cNvPr id="67" name="Speech Bubble: Oval 66">
            <a:extLst>
              <a:ext uri="{FF2B5EF4-FFF2-40B4-BE49-F238E27FC236}">
                <a16:creationId xmlns:a16="http://schemas.microsoft.com/office/drawing/2014/main" id="{69CE95AD-8EA7-42AD-8543-0BCD92FB751C}"/>
              </a:ext>
            </a:extLst>
          </p:cNvPr>
          <p:cNvSpPr/>
          <p:nvPr/>
        </p:nvSpPr>
        <p:spPr>
          <a:xfrm>
            <a:off x="8876280" y="1878199"/>
            <a:ext cx="2624359" cy="1408607"/>
          </a:xfrm>
          <a:prstGeom prst="wedgeEllipseCallout">
            <a:avLst>
              <a:gd name="adj1" fmla="val -88226"/>
              <a:gd name="adj2" fmla="val 66557"/>
            </a:avLst>
          </a:prstGeom>
          <a:solidFill>
            <a:schemeClr val="accent5">
              <a:lumMod val="25000"/>
            </a:schemeClr>
          </a:soli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b="1" dirty="0"/>
              <a:t>БИД ЮУ МЭДЭЖ БАЙХ ЁСТОЙ ВЭ</a:t>
            </a:r>
            <a:r>
              <a:rPr lang="en-GB" b="1" dirty="0"/>
              <a:t>?</a:t>
            </a:r>
          </a:p>
        </p:txBody>
      </p:sp>
      <p:sp>
        <p:nvSpPr>
          <p:cNvPr id="68" name="Speech Bubble: Oval 67">
            <a:extLst>
              <a:ext uri="{FF2B5EF4-FFF2-40B4-BE49-F238E27FC236}">
                <a16:creationId xmlns:a16="http://schemas.microsoft.com/office/drawing/2014/main" id="{23849C33-D405-4048-9F2B-C2029B9D7D3A}"/>
              </a:ext>
            </a:extLst>
          </p:cNvPr>
          <p:cNvSpPr/>
          <p:nvPr/>
        </p:nvSpPr>
        <p:spPr>
          <a:xfrm>
            <a:off x="4638972" y="256457"/>
            <a:ext cx="3501889" cy="1408607"/>
          </a:xfrm>
          <a:prstGeom prst="wedgeEllipseCallout">
            <a:avLst>
              <a:gd name="adj1" fmla="val -326"/>
              <a:gd name="adj2" fmla="val 97597"/>
            </a:avLst>
          </a:prstGeom>
          <a:solidFill>
            <a:schemeClr val="accent5">
              <a:lumMod val="25000"/>
            </a:schemeClr>
          </a:soli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b="1" dirty="0"/>
              <a:t>ХҮНСНИЙ ХАЯГДЛЫН АСУУДАЛ ЯАГААД ЧУХАЛ ГЭЖ</a:t>
            </a:r>
            <a:r>
              <a:rPr lang="en-GB" b="1" dirty="0"/>
              <a:t>?</a:t>
            </a:r>
          </a:p>
        </p:txBody>
      </p:sp>
      <p:sp>
        <p:nvSpPr>
          <p:cNvPr id="71" name="Crowdsourcing" descr="{&quot;Key&quot;:&quot;POWER_USER_SHAPE_ICON&quot;,&quot;Value&quot;:&quot;POWER_USER_SHAPE_ICON_STYLE_1&quot;}">
            <a:extLst>
              <a:ext uri="{FF2B5EF4-FFF2-40B4-BE49-F238E27FC236}">
                <a16:creationId xmlns:a16="http://schemas.microsoft.com/office/drawing/2014/main" id="{D4C70A0B-FCC2-4A60-BF0A-10D4780730D6}"/>
              </a:ext>
            </a:extLst>
          </p:cNvPr>
          <p:cNvSpPr>
            <a:spLocks noChangeAspect="1" noEditPoints="1"/>
          </p:cNvSpPr>
          <p:nvPr>
            <p:custDataLst>
              <p:tags r:id="rId1"/>
            </p:custDataLst>
          </p:nvPr>
        </p:nvSpPr>
        <p:spPr bwMode="auto">
          <a:xfrm>
            <a:off x="4638972" y="2448213"/>
            <a:ext cx="3416508" cy="3423784"/>
          </a:xfrm>
          <a:custGeom>
            <a:avLst/>
            <a:gdLst>
              <a:gd name="T0" fmla="*/ 1078 w 1250"/>
              <a:gd name="T1" fmla="*/ 608 h 1250"/>
              <a:gd name="T2" fmla="*/ 882 w 1250"/>
              <a:gd name="T3" fmla="*/ 392 h 1250"/>
              <a:gd name="T4" fmla="*/ 1007 w 1250"/>
              <a:gd name="T5" fmla="*/ 330 h 1250"/>
              <a:gd name="T6" fmla="*/ 1007 w 1250"/>
              <a:gd name="T7" fmla="*/ 156 h 1250"/>
              <a:gd name="T8" fmla="*/ 935 w 1250"/>
              <a:gd name="T9" fmla="*/ 291 h 1250"/>
              <a:gd name="T10" fmla="*/ 642 w 1250"/>
              <a:gd name="T11" fmla="*/ 279 h 1250"/>
              <a:gd name="T12" fmla="*/ 712 w 1250"/>
              <a:gd name="T13" fmla="*/ 87 h 1250"/>
              <a:gd name="T14" fmla="*/ 538 w 1250"/>
              <a:gd name="T15" fmla="*/ 87 h 1250"/>
              <a:gd name="T16" fmla="*/ 608 w 1250"/>
              <a:gd name="T17" fmla="*/ 279 h 1250"/>
              <a:gd name="T18" fmla="*/ 315 w 1250"/>
              <a:gd name="T19" fmla="*/ 291 h 1250"/>
              <a:gd name="T20" fmla="*/ 243 w 1250"/>
              <a:gd name="T21" fmla="*/ 156 h 1250"/>
              <a:gd name="T22" fmla="*/ 243 w 1250"/>
              <a:gd name="T23" fmla="*/ 330 h 1250"/>
              <a:gd name="T24" fmla="*/ 368 w 1250"/>
              <a:gd name="T25" fmla="*/ 392 h 1250"/>
              <a:gd name="T26" fmla="*/ 172 w 1250"/>
              <a:gd name="T27" fmla="*/ 608 h 1250"/>
              <a:gd name="T28" fmla="*/ 0 w 1250"/>
              <a:gd name="T29" fmla="*/ 625 h 1250"/>
              <a:gd name="T30" fmla="*/ 172 w 1250"/>
              <a:gd name="T31" fmla="*/ 642 h 1250"/>
              <a:gd name="T32" fmla="*/ 368 w 1250"/>
              <a:gd name="T33" fmla="*/ 858 h 1250"/>
              <a:gd name="T34" fmla="*/ 243 w 1250"/>
              <a:gd name="T35" fmla="*/ 920 h 1250"/>
              <a:gd name="T36" fmla="*/ 243 w 1250"/>
              <a:gd name="T37" fmla="*/ 1094 h 1250"/>
              <a:gd name="T38" fmla="*/ 315 w 1250"/>
              <a:gd name="T39" fmla="*/ 959 h 1250"/>
              <a:gd name="T40" fmla="*/ 608 w 1250"/>
              <a:gd name="T41" fmla="*/ 971 h 1250"/>
              <a:gd name="T42" fmla="*/ 538 w 1250"/>
              <a:gd name="T43" fmla="*/ 1163 h 1250"/>
              <a:gd name="T44" fmla="*/ 712 w 1250"/>
              <a:gd name="T45" fmla="*/ 1163 h 1250"/>
              <a:gd name="T46" fmla="*/ 642 w 1250"/>
              <a:gd name="T47" fmla="*/ 971 h 1250"/>
              <a:gd name="T48" fmla="*/ 935 w 1250"/>
              <a:gd name="T49" fmla="*/ 959 h 1250"/>
              <a:gd name="T50" fmla="*/ 1007 w 1250"/>
              <a:gd name="T51" fmla="*/ 1094 h 1250"/>
              <a:gd name="T52" fmla="*/ 1007 w 1250"/>
              <a:gd name="T53" fmla="*/ 920 h 1250"/>
              <a:gd name="T54" fmla="*/ 882 w 1250"/>
              <a:gd name="T55" fmla="*/ 858 h 1250"/>
              <a:gd name="T56" fmla="*/ 1078 w 1250"/>
              <a:gd name="T57" fmla="*/ 642 h 1250"/>
              <a:gd name="T58" fmla="*/ 1250 w 1250"/>
              <a:gd name="T59" fmla="*/ 625 h 1250"/>
              <a:gd name="T60" fmla="*/ 1007 w 1250"/>
              <a:gd name="T61" fmla="*/ 191 h 1250"/>
              <a:gd name="T62" fmla="*/ 1007 w 1250"/>
              <a:gd name="T63" fmla="*/ 295 h 1250"/>
              <a:gd name="T64" fmla="*/ 1007 w 1250"/>
              <a:gd name="T65" fmla="*/ 191 h 1250"/>
              <a:gd name="T66" fmla="*/ 191 w 1250"/>
              <a:gd name="T67" fmla="*/ 243 h 1250"/>
              <a:gd name="T68" fmla="*/ 295 w 1250"/>
              <a:gd name="T69" fmla="*/ 243 h 1250"/>
              <a:gd name="T70" fmla="*/ 87 w 1250"/>
              <a:gd name="T71" fmla="*/ 677 h 1250"/>
              <a:gd name="T72" fmla="*/ 87 w 1250"/>
              <a:gd name="T73" fmla="*/ 573 h 1250"/>
              <a:gd name="T74" fmla="*/ 87 w 1250"/>
              <a:gd name="T75" fmla="*/ 677 h 1250"/>
              <a:gd name="T76" fmla="*/ 191 w 1250"/>
              <a:gd name="T77" fmla="*/ 1007 h 1250"/>
              <a:gd name="T78" fmla="*/ 295 w 1250"/>
              <a:gd name="T79" fmla="*/ 1007 h 1250"/>
              <a:gd name="T80" fmla="*/ 573 w 1250"/>
              <a:gd name="T81" fmla="*/ 87 h 1250"/>
              <a:gd name="T82" fmla="*/ 677 w 1250"/>
              <a:gd name="T83" fmla="*/ 87 h 1250"/>
              <a:gd name="T84" fmla="*/ 573 w 1250"/>
              <a:gd name="T85" fmla="*/ 87 h 1250"/>
              <a:gd name="T86" fmla="*/ 625 w 1250"/>
              <a:gd name="T87" fmla="*/ 1215 h 1250"/>
              <a:gd name="T88" fmla="*/ 625 w 1250"/>
              <a:gd name="T89" fmla="*/ 1111 h 1250"/>
              <a:gd name="T90" fmla="*/ 660 w 1250"/>
              <a:gd name="T91" fmla="*/ 868 h 1250"/>
              <a:gd name="T92" fmla="*/ 590 w 1250"/>
              <a:gd name="T93" fmla="*/ 799 h 1250"/>
              <a:gd name="T94" fmla="*/ 660 w 1250"/>
              <a:gd name="T95" fmla="*/ 868 h 1250"/>
              <a:gd name="T96" fmla="*/ 660 w 1250"/>
              <a:gd name="T97" fmla="*/ 747 h 1250"/>
              <a:gd name="T98" fmla="*/ 668 w 1250"/>
              <a:gd name="T99" fmla="*/ 606 h 1250"/>
              <a:gd name="T100" fmla="*/ 625 w 1250"/>
              <a:gd name="T101" fmla="*/ 451 h 1250"/>
              <a:gd name="T102" fmla="*/ 469 w 1250"/>
              <a:gd name="T103" fmla="*/ 538 h 1250"/>
              <a:gd name="T104" fmla="*/ 781 w 1250"/>
              <a:gd name="T105" fmla="*/ 538 h 1250"/>
              <a:gd name="T106" fmla="*/ 1007 w 1250"/>
              <a:gd name="T107" fmla="*/ 955 h 1250"/>
              <a:gd name="T108" fmla="*/ 1007 w 1250"/>
              <a:gd name="T109" fmla="*/ 1059 h 1250"/>
              <a:gd name="T110" fmla="*/ 1007 w 1250"/>
              <a:gd name="T111" fmla="*/ 955 h 1250"/>
              <a:gd name="T112" fmla="*/ 1111 w 1250"/>
              <a:gd name="T113" fmla="*/ 625 h 1250"/>
              <a:gd name="T114" fmla="*/ 1215 w 1250"/>
              <a:gd name="T115" fmla="*/ 625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0" h="1250">
                <a:moveTo>
                  <a:pt x="1163" y="538"/>
                </a:moveTo>
                <a:cubicBezTo>
                  <a:pt x="1121" y="538"/>
                  <a:pt x="1086" y="568"/>
                  <a:pt x="1078" y="608"/>
                </a:cubicBezTo>
                <a:lnTo>
                  <a:pt x="971" y="608"/>
                </a:lnTo>
                <a:cubicBezTo>
                  <a:pt x="967" y="525"/>
                  <a:pt x="934" y="450"/>
                  <a:pt x="882" y="392"/>
                </a:cubicBezTo>
                <a:lnTo>
                  <a:pt x="959" y="315"/>
                </a:lnTo>
                <a:cubicBezTo>
                  <a:pt x="973" y="325"/>
                  <a:pt x="989" y="330"/>
                  <a:pt x="1007" y="330"/>
                </a:cubicBezTo>
                <a:cubicBezTo>
                  <a:pt x="1055" y="330"/>
                  <a:pt x="1094" y="291"/>
                  <a:pt x="1094" y="243"/>
                </a:cubicBezTo>
                <a:cubicBezTo>
                  <a:pt x="1094" y="195"/>
                  <a:pt x="1055" y="156"/>
                  <a:pt x="1007" y="156"/>
                </a:cubicBezTo>
                <a:cubicBezTo>
                  <a:pt x="959" y="156"/>
                  <a:pt x="920" y="195"/>
                  <a:pt x="920" y="243"/>
                </a:cubicBezTo>
                <a:cubicBezTo>
                  <a:pt x="920" y="261"/>
                  <a:pt x="926" y="277"/>
                  <a:pt x="935" y="291"/>
                </a:cubicBezTo>
                <a:lnTo>
                  <a:pt x="858" y="368"/>
                </a:lnTo>
                <a:cubicBezTo>
                  <a:pt x="800" y="316"/>
                  <a:pt x="725" y="283"/>
                  <a:pt x="642" y="279"/>
                </a:cubicBezTo>
                <a:lnTo>
                  <a:pt x="642" y="172"/>
                </a:lnTo>
                <a:cubicBezTo>
                  <a:pt x="682" y="164"/>
                  <a:pt x="712" y="129"/>
                  <a:pt x="712" y="87"/>
                </a:cubicBezTo>
                <a:cubicBezTo>
                  <a:pt x="712" y="39"/>
                  <a:pt x="673" y="0"/>
                  <a:pt x="625" y="0"/>
                </a:cubicBezTo>
                <a:cubicBezTo>
                  <a:pt x="577" y="0"/>
                  <a:pt x="538" y="39"/>
                  <a:pt x="538" y="87"/>
                </a:cubicBezTo>
                <a:cubicBezTo>
                  <a:pt x="538" y="129"/>
                  <a:pt x="568" y="164"/>
                  <a:pt x="608" y="172"/>
                </a:cubicBezTo>
                <a:lnTo>
                  <a:pt x="608" y="279"/>
                </a:lnTo>
                <a:cubicBezTo>
                  <a:pt x="525" y="283"/>
                  <a:pt x="450" y="316"/>
                  <a:pt x="392" y="368"/>
                </a:cubicBezTo>
                <a:lnTo>
                  <a:pt x="315" y="291"/>
                </a:lnTo>
                <a:cubicBezTo>
                  <a:pt x="325" y="277"/>
                  <a:pt x="330" y="261"/>
                  <a:pt x="330" y="243"/>
                </a:cubicBezTo>
                <a:cubicBezTo>
                  <a:pt x="330" y="195"/>
                  <a:pt x="291" y="156"/>
                  <a:pt x="243" y="156"/>
                </a:cubicBezTo>
                <a:cubicBezTo>
                  <a:pt x="195" y="156"/>
                  <a:pt x="156" y="195"/>
                  <a:pt x="156" y="243"/>
                </a:cubicBezTo>
                <a:cubicBezTo>
                  <a:pt x="156" y="291"/>
                  <a:pt x="195" y="330"/>
                  <a:pt x="243" y="330"/>
                </a:cubicBezTo>
                <a:cubicBezTo>
                  <a:pt x="261" y="330"/>
                  <a:pt x="277" y="324"/>
                  <a:pt x="291" y="315"/>
                </a:cubicBezTo>
                <a:lnTo>
                  <a:pt x="368" y="392"/>
                </a:lnTo>
                <a:cubicBezTo>
                  <a:pt x="316" y="450"/>
                  <a:pt x="283" y="525"/>
                  <a:pt x="279" y="608"/>
                </a:cubicBezTo>
                <a:lnTo>
                  <a:pt x="172" y="608"/>
                </a:lnTo>
                <a:cubicBezTo>
                  <a:pt x="164" y="568"/>
                  <a:pt x="129" y="538"/>
                  <a:pt x="87" y="538"/>
                </a:cubicBezTo>
                <a:cubicBezTo>
                  <a:pt x="39" y="538"/>
                  <a:pt x="0" y="577"/>
                  <a:pt x="0" y="625"/>
                </a:cubicBezTo>
                <a:cubicBezTo>
                  <a:pt x="0" y="673"/>
                  <a:pt x="39" y="712"/>
                  <a:pt x="87" y="712"/>
                </a:cubicBezTo>
                <a:cubicBezTo>
                  <a:pt x="129" y="712"/>
                  <a:pt x="164" y="682"/>
                  <a:pt x="172" y="642"/>
                </a:cubicBezTo>
                <a:lnTo>
                  <a:pt x="279" y="642"/>
                </a:lnTo>
                <a:cubicBezTo>
                  <a:pt x="283" y="725"/>
                  <a:pt x="316" y="800"/>
                  <a:pt x="368" y="858"/>
                </a:cubicBezTo>
                <a:lnTo>
                  <a:pt x="291" y="935"/>
                </a:lnTo>
                <a:cubicBezTo>
                  <a:pt x="277" y="925"/>
                  <a:pt x="261" y="920"/>
                  <a:pt x="243" y="920"/>
                </a:cubicBezTo>
                <a:cubicBezTo>
                  <a:pt x="195" y="920"/>
                  <a:pt x="156" y="959"/>
                  <a:pt x="156" y="1007"/>
                </a:cubicBezTo>
                <a:cubicBezTo>
                  <a:pt x="156" y="1055"/>
                  <a:pt x="195" y="1094"/>
                  <a:pt x="243" y="1094"/>
                </a:cubicBezTo>
                <a:cubicBezTo>
                  <a:pt x="291" y="1094"/>
                  <a:pt x="330" y="1055"/>
                  <a:pt x="330" y="1007"/>
                </a:cubicBezTo>
                <a:cubicBezTo>
                  <a:pt x="330" y="989"/>
                  <a:pt x="324" y="973"/>
                  <a:pt x="315" y="959"/>
                </a:cubicBezTo>
                <a:lnTo>
                  <a:pt x="392" y="882"/>
                </a:lnTo>
                <a:cubicBezTo>
                  <a:pt x="450" y="934"/>
                  <a:pt x="525" y="967"/>
                  <a:pt x="608" y="971"/>
                </a:cubicBezTo>
                <a:lnTo>
                  <a:pt x="608" y="1078"/>
                </a:lnTo>
                <a:cubicBezTo>
                  <a:pt x="568" y="1086"/>
                  <a:pt x="538" y="1121"/>
                  <a:pt x="538" y="1163"/>
                </a:cubicBezTo>
                <a:cubicBezTo>
                  <a:pt x="538" y="1211"/>
                  <a:pt x="577" y="1250"/>
                  <a:pt x="625" y="1250"/>
                </a:cubicBezTo>
                <a:cubicBezTo>
                  <a:pt x="673" y="1250"/>
                  <a:pt x="712" y="1211"/>
                  <a:pt x="712" y="1163"/>
                </a:cubicBezTo>
                <a:cubicBezTo>
                  <a:pt x="712" y="1121"/>
                  <a:pt x="682" y="1086"/>
                  <a:pt x="642" y="1078"/>
                </a:cubicBezTo>
                <a:lnTo>
                  <a:pt x="642" y="971"/>
                </a:lnTo>
                <a:cubicBezTo>
                  <a:pt x="725" y="967"/>
                  <a:pt x="800" y="934"/>
                  <a:pt x="858" y="882"/>
                </a:cubicBezTo>
                <a:lnTo>
                  <a:pt x="935" y="959"/>
                </a:lnTo>
                <a:cubicBezTo>
                  <a:pt x="925" y="973"/>
                  <a:pt x="920" y="989"/>
                  <a:pt x="920" y="1007"/>
                </a:cubicBezTo>
                <a:cubicBezTo>
                  <a:pt x="920" y="1055"/>
                  <a:pt x="959" y="1094"/>
                  <a:pt x="1007" y="1094"/>
                </a:cubicBezTo>
                <a:cubicBezTo>
                  <a:pt x="1055" y="1094"/>
                  <a:pt x="1094" y="1055"/>
                  <a:pt x="1094" y="1007"/>
                </a:cubicBezTo>
                <a:cubicBezTo>
                  <a:pt x="1094" y="959"/>
                  <a:pt x="1055" y="920"/>
                  <a:pt x="1007" y="920"/>
                </a:cubicBezTo>
                <a:cubicBezTo>
                  <a:pt x="989" y="920"/>
                  <a:pt x="973" y="926"/>
                  <a:pt x="959" y="935"/>
                </a:cubicBezTo>
                <a:lnTo>
                  <a:pt x="882" y="858"/>
                </a:lnTo>
                <a:cubicBezTo>
                  <a:pt x="934" y="800"/>
                  <a:pt x="967" y="725"/>
                  <a:pt x="971" y="642"/>
                </a:cubicBezTo>
                <a:lnTo>
                  <a:pt x="1078" y="642"/>
                </a:lnTo>
                <a:cubicBezTo>
                  <a:pt x="1086" y="682"/>
                  <a:pt x="1121" y="712"/>
                  <a:pt x="1163" y="712"/>
                </a:cubicBezTo>
                <a:cubicBezTo>
                  <a:pt x="1211" y="712"/>
                  <a:pt x="1250" y="673"/>
                  <a:pt x="1250" y="625"/>
                </a:cubicBezTo>
                <a:cubicBezTo>
                  <a:pt x="1250" y="577"/>
                  <a:pt x="1211" y="538"/>
                  <a:pt x="1163" y="538"/>
                </a:cubicBezTo>
                <a:close/>
                <a:moveTo>
                  <a:pt x="1007" y="191"/>
                </a:moveTo>
                <a:cubicBezTo>
                  <a:pt x="1036" y="191"/>
                  <a:pt x="1059" y="214"/>
                  <a:pt x="1059" y="243"/>
                </a:cubicBezTo>
                <a:cubicBezTo>
                  <a:pt x="1059" y="272"/>
                  <a:pt x="1036" y="295"/>
                  <a:pt x="1007" y="295"/>
                </a:cubicBezTo>
                <a:cubicBezTo>
                  <a:pt x="978" y="295"/>
                  <a:pt x="955" y="272"/>
                  <a:pt x="955" y="243"/>
                </a:cubicBezTo>
                <a:cubicBezTo>
                  <a:pt x="955" y="214"/>
                  <a:pt x="978" y="191"/>
                  <a:pt x="1007" y="191"/>
                </a:cubicBezTo>
                <a:close/>
                <a:moveTo>
                  <a:pt x="243" y="295"/>
                </a:moveTo>
                <a:cubicBezTo>
                  <a:pt x="214" y="295"/>
                  <a:pt x="191" y="272"/>
                  <a:pt x="191" y="243"/>
                </a:cubicBezTo>
                <a:cubicBezTo>
                  <a:pt x="191" y="214"/>
                  <a:pt x="214" y="191"/>
                  <a:pt x="243" y="191"/>
                </a:cubicBezTo>
                <a:cubicBezTo>
                  <a:pt x="272" y="191"/>
                  <a:pt x="295" y="214"/>
                  <a:pt x="295" y="243"/>
                </a:cubicBezTo>
                <a:cubicBezTo>
                  <a:pt x="295" y="272"/>
                  <a:pt x="272" y="295"/>
                  <a:pt x="243" y="295"/>
                </a:cubicBezTo>
                <a:close/>
                <a:moveTo>
                  <a:pt x="87" y="677"/>
                </a:moveTo>
                <a:cubicBezTo>
                  <a:pt x="58" y="677"/>
                  <a:pt x="35" y="654"/>
                  <a:pt x="35" y="625"/>
                </a:cubicBezTo>
                <a:cubicBezTo>
                  <a:pt x="35" y="596"/>
                  <a:pt x="58" y="573"/>
                  <a:pt x="87" y="573"/>
                </a:cubicBezTo>
                <a:cubicBezTo>
                  <a:pt x="116" y="573"/>
                  <a:pt x="139" y="596"/>
                  <a:pt x="139" y="625"/>
                </a:cubicBezTo>
                <a:cubicBezTo>
                  <a:pt x="139" y="654"/>
                  <a:pt x="116" y="677"/>
                  <a:pt x="87" y="677"/>
                </a:cubicBezTo>
                <a:close/>
                <a:moveTo>
                  <a:pt x="243" y="1059"/>
                </a:moveTo>
                <a:cubicBezTo>
                  <a:pt x="214" y="1059"/>
                  <a:pt x="191" y="1036"/>
                  <a:pt x="191" y="1007"/>
                </a:cubicBezTo>
                <a:cubicBezTo>
                  <a:pt x="191" y="978"/>
                  <a:pt x="214" y="955"/>
                  <a:pt x="243" y="955"/>
                </a:cubicBezTo>
                <a:cubicBezTo>
                  <a:pt x="272" y="955"/>
                  <a:pt x="295" y="978"/>
                  <a:pt x="295" y="1007"/>
                </a:cubicBezTo>
                <a:cubicBezTo>
                  <a:pt x="295" y="1036"/>
                  <a:pt x="272" y="1059"/>
                  <a:pt x="243" y="1059"/>
                </a:cubicBezTo>
                <a:close/>
                <a:moveTo>
                  <a:pt x="573" y="87"/>
                </a:moveTo>
                <a:cubicBezTo>
                  <a:pt x="573" y="58"/>
                  <a:pt x="596" y="35"/>
                  <a:pt x="625" y="35"/>
                </a:cubicBezTo>
                <a:cubicBezTo>
                  <a:pt x="654" y="35"/>
                  <a:pt x="677" y="58"/>
                  <a:pt x="677" y="87"/>
                </a:cubicBezTo>
                <a:cubicBezTo>
                  <a:pt x="677" y="116"/>
                  <a:pt x="654" y="139"/>
                  <a:pt x="625" y="139"/>
                </a:cubicBezTo>
                <a:cubicBezTo>
                  <a:pt x="596" y="139"/>
                  <a:pt x="573" y="116"/>
                  <a:pt x="573" y="87"/>
                </a:cubicBezTo>
                <a:close/>
                <a:moveTo>
                  <a:pt x="677" y="1163"/>
                </a:moveTo>
                <a:cubicBezTo>
                  <a:pt x="677" y="1192"/>
                  <a:pt x="654" y="1215"/>
                  <a:pt x="625" y="1215"/>
                </a:cubicBezTo>
                <a:cubicBezTo>
                  <a:pt x="596" y="1215"/>
                  <a:pt x="573" y="1192"/>
                  <a:pt x="573" y="1163"/>
                </a:cubicBezTo>
                <a:cubicBezTo>
                  <a:pt x="573" y="1134"/>
                  <a:pt x="596" y="1111"/>
                  <a:pt x="625" y="1111"/>
                </a:cubicBezTo>
                <a:cubicBezTo>
                  <a:pt x="654" y="1111"/>
                  <a:pt x="677" y="1134"/>
                  <a:pt x="677" y="1163"/>
                </a:cubicBezTo>
                <a:close/>
                <a:moveTo>
                  <a:pt x="660" y="868"/>
                </a:moveTo>
                <a:lnTo>
                  <a:pt x="590" y="868"/>
                </a:lnTo>
                <a:lnTo>
                  <a:pt x="590" y="799"/>
                </a:lnTo>
                <a:lnTo>
                  <a:pt x="660" y="799"/>
                </a:lnTo>
                <a:lnTo>
                  <a:pt x="660" y="868"/>
                </a:lnTo>
                <a:close/>
                <a:moveTo>
                  <a:pt x="711" y="660"/>
                </a:moveTo>
                <a:cubicBezTo>
                  <a:pt x="681" y="684"/>
                  <a:pt x="660" y="700"/>
                  <a:pt x="660" y="747"/>
                </a:cubicBezTo>
                <a:lnTo>
                  <a:pt x="590" y="747"/>
                </a:lnTo>
                <a:cubicBezTo>
                  <a:pt x="590" y="667"/>
                  <a:pt x="635" y="631"/>
                  <a:pt x="668" y="606"/>
                </a:cubicBezTo>
                <a:cubicBezTo>
                  <a:pt x="698" y="583"/>
                  <a:pt x="712" y="570"/>
                  <a:pt x="712" y="538"/>
                </a:cubicBezTo>
                <a:cubicBezTo>
                  <a:pt x="712" y="477"/>
                  <a:pt x="686" y="451"/>
                  <a:pt x="625" y="451"/>
                </a:cubicBezTo>
                <a:cubicBezTo>
                  <a:pt x="564" y="451"/>
                  <a:pt x="538" y="477"/>
                  <a:pt x="538" y="538"/>
                </a:cubicBezTo>
                <a:lnTo>
                  <a:pt x="469" y="538"/>
                </a:lnTo>
                <a:cubicBezTo>
                  <a:pt x="469" y="439"/>
                  <a:pt x="526" y="382"/>
                  <a:pt x="625" y="382"/>
                </a:cubicBezTo>
                <a:cubicBezTo>
                  <a:pt x="724" y="382"/>
                  <a:pt x="781" y="439"/>
                  <a:pt x="781" y="538"/>
                </a:cubicBezTo>
                <a:cubicBezTo>
                  <a:pt x="781" y="605"/>
                  <a:pt x="742" y="636"/>
                  <a:pt x="711" y="660"/>
                </a:cubicBezTo>
                <a:close/>
                <a:moveTo>
                  <a:pt x="1007" y="955"/>
                </a:moveTo>
                <a:cubicBezTo>
                  <a:pt x="1036" y="955"/>
                  <a:pt x="1059" y="978"/>
                  <a:pt x="1059" y="1007"/>
                </a:cubicBezTo>
                <a:cubicBezTo>
                  <a:pt x="1059" y="1036"/>
                  <a:pt x="1036" y="1059"/>
                  <a:pt x="1007" y="1059"/>
                </a:cubicBezTo>
                <a:cubicBezTo>
                  <a:pt x="978" y="1059"/>
                  <a:pt x="955" y="1036"/>
                  <a:pt x="955" y="1007"/>
                </a:cubicBezTo>
                <a:cubicBezTo>
                  <a:pt x="955" y="978"/>
                  <a:pt x="978" y="955"/>
                  <a:pt x="1007" y="955"/>
                </a:cubicBezTo>
                <a:close/>
                <a:moveTo>
                  <a:pt x="1163" y="677"/>
                </a:moveTo>
                <a:cubicBezTo>
                  <a:pt x="1134" y="677"/>
                  <a:pt x="1111" y="654"/>
                  <a:pt x="1111" y="625"/>
                </a:cubicBezTo>
                <a:cubicBezTo>
                  <a:pt x="1111" y="596"/>
                  <a:pt x="1134" y="573"/>
                  <a:pt x="1163" y="573"/>
                </a:cubicBezTo>
                <a:cubicBezTo>
                  <a:pt x="1192" y="573"/>
                  <a:pt x="1215" y="596"/>
                  <a:pt x="1215" y="625"/>
                </a:cubicBezTo>
                <a:cubicBezTo>
                  <a:pt x="1215" y="654"/>
                  <a:pt x="1192" y="677"/>
                  <a:pt x="1163" y="677"/>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33758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801CC-E369-4545-9557-94A435E4674A}"/>
              </a:ext>
            </a:extLst>
          </p:cNvPr>
          <p:cNvSpPr>
            <a:spLocks noGrp="1"/>
          </p:cNvSpPr>
          <p:nvPr>
            <p:ph type="title"/>
          </p:nvPr>
        </p:nvSpPr>
        <p:spPr/>
        <p:txBody>
          <a:bodyPr/>
          <a:lstStyle/>
          <a:p>
            <a:r>
              <a:rPr lang="mn-MN" dirty="0"/>
              <a:t>ТАНД ӨДРИЙН МЭНД ХҮРГЭЕ</a:t>
            </a:r>
            <a:r>
              <a:rPr lang="en-GB" dirty="0"/>
              <a:t>!</a:t>
            </a:r>
          </a:p>
        </p:txBody>
      </p:sp>
      <p:sp>
        <p:nvSpPr>
          <p:cNvPr id="5" name="Slide Number Placeholder 4"/>
          <p:cNvSpPr>
            <a:spLocks noGrp="1"/>
          </p:cNvSpPr>
          <p:nvPr>
            <p:ph type="sldNum" sz="quarter" idx="12"/>
          </p:nvPr>
        </p:nvSpPr>
        <p:spPr/>
        <p:txBody>
          <a:bodyPr/>
          <a:lstStyle/>
          <a:p>
            <a:fld id="{C1B07ACB-AE6F-47F7-B02A-AE02D6CD5526}" type="slidenum">
              <a:rPr lang="en-GB" smtClean="0"/>
              <a:pPr/>
              <a:t>2</a:t>
            </a:fld>
            <a:endParaRPr lang="en-GB" dirty="0"/>
          </a:p>
        </p:txBody>
      </p:sp>
      <p:pic>
        <p:nvPicPr>
          <p:cNvPr id="6" name="Picture 5">
            <a:extLst>
              <a:ext uri="{FF2B5EF4-FFF2-40B4-BE49-F238E27FC236}">
                <a16:creationId xmlns:a16="http://schemas.microsoft.com/office/drawing/2014/main" id="{99F975A3-9771-4A97-BB92-C5BFBA88A420}"/>
              </a:ext>
            </a:extLst>
          </p:cNvPr>
          <p:cNvPicPr/>
          <p:nvPr/>
        </p:nvPicPr>
        <p:blipFill>
          <a:blip r:embed="rId7" cstate="screen">
            <a:extLst>
              <a:ext uri="{28A0092B-C50C-407E-A947-70E740481C1C}">
                <a14:useLocalDpi xmlns:a14="http://schemas.microsoft.com/office/drawing/2010/main"/>
              </a:ext>
            </a:extLst>
          </a:blip>
          <a:srcRect/>
          <a:stretch>
            <a:fillRect/>
          </a:stretch>
        </p:blipFill>
        <p:spPr bwMode="auto">
          <a:xfrm>
            <a:off x="1261056" y="6197284"/>
            <a:ext cx="1547628" cy="472236"/>
          </a:xfrm>
          <a:prstGeom prst="rect">
            <a:avLst/>
          </a:prstGeom>
          <a:noFill/>
        </p:spPr>
      </p:pic>
      <p:grpSp>
        <p:nvGrpSpPr>
          <p:cNvPr id="129" name="Equality" descr="{&quot;Key&quot;:&quot;POWER_USER_SHAPE_ICON&quot;,&quot;Value&quot;:&quot;POWER_USER_SHAPE_ICON_STYLE_1&quot;}">
            <a:extLst>
              <a:ext uri="{FF2B5EF4-FFF2-40B4-BE49-F238E27FC236}">
                <a16:creationId xmlns:a16="http://schemas.microsoft.com/office/drawing/2014/main" id="{58DDA07D-F978-494B-BE47-800C529CAB72}"/>
              </a:ext>
            </a:extLst>
          </p:cNvPr>
          <p:cNvGrpSpPr>
            <a:grpSpLocks noChangeAspect="1"/>
          </p:cNvGrpSpPr>
          <p:nvPr>
            <p:custDataLst>
              <p:tags r:id="rId1"/>
            </p:custDataLst>
          </p:nvPr>
        </p:nvGrpSpPr>
        <p:grpSpPr bwMode="auto">
          <a:xfrm>
            <a:off x="4290619" y="2142438"/>
            <a:ext cx="3955310" cy="2573124"/>
            <a:chOff x="15" y="183"/>
            <a:chExt cx="455" cy="296"/>
          </a:xfrm>
          <a:solidFill>
            <a:schemeClr val="accent2"/>
          </a:solidFill>
        </p:grpSpPr>
        <p:sp>
          <p:nvSpPr>
            <p:cNvPr id="130" name="Equality">
              <a:extLst>
                <a:ext uri="{FF2B5EF4-FFF2-40B4-BE49-F238E27FC236}">
                  <a16:creationId xmlns:a16="http://schemas.microsoft.com/office/drawing/2014/main" id="{9ED8A648-00BA-46BE-9023-74A9908725D0}"/>
                </a:ext>
              </a:extLst>
            </p:cNvPr>
            <p:cNvSpPr>
              <a:spLocks noChangeArrowheads="1"/>
            </p:cNvSpPr>
            <p:nvPr>
              <p:custDataLst>
                <p:tags r:id="rId2"/>
              </p:custDataLst>
            </p:nvPr>
          </p:nvSpPr>
          <p:spPr bwMode="auto">
            <a:xfrm>
              <a:off x="25" y="183"/>
              <a:ext cx="104" cy="104"/>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Equality">
              <a:extLst>
                <a:ext uri="{FF2B5EF4-FFF2-40B4-BE49-F238E27FC236}">
                  <a16:creationId xmlns:a16="http://schemas.microsoft.com/office/drawing/2014/main" id="{2154A526-CF08-4A4F-9589-4F53AFE6CF2F}"/>
                </a:ext>
              </a:extLst>
            </p:cNvPr>
            <p:cNvSpPr>
              <a:spLocks noEditPoints="1"/>
            </p:cNvSpPr>
            <p:nvPr>
              <p:custDataLst>
                <p:tags r:id="rId3"/>
              </p:custDataLst>
            </p:nvPr>
          </p:nvSpPr>
          <p:spPr bwMode="auto">
            <a:xfrm>
              <a:off x="357" y="183"/>
              <a:ext cx="104" cy="104"/>
            </a:xfrm>
            <a:custGeom>
              <a:avLst/>
              <a:gdLst>
                <a:gd name="T0" fmla="*/ 139 w 278"/>
                <a:gd name="T1" fmla="*/ 25 h 278"/>
                <a:gd name="T2" fmla="*/ 254 w 278"/>
                <a:gd name="T3" fmla="*/ 139 h 278"/>
                <a:gd name="T4" fmla="*/ 139 w 278"/>
                <a:gd name="T5" fmla="*/ 254 h 278"/>
                <a:gd name="T6" fmla="*/ 25 w 278"/>
                <a:gd name="T7" fmla="*/ 139 h 278"/>
                <a:gd name="T8" fmla="*/ 139 w 278"/>
                <a:gd name="T9" fmla="*/ 25 h 278"/>
                <a:gd name="T10" fmla="*/ 139 w 278"/>
                <a:gd name="T11" fmla="*/ 0 h 278"/>
                <a:gd name="T12" fmla="*/ 0 w 278"/>
                <a:gd name="T13" fmla="*/ 139 h 278"/>
                <a:gd name="T14" fmla="*/ 139 w 278"/>
                <a:gd name="T15" fmla="*/ 278 h 278"/>
                <a:gd name="T16" fmla="*/ 278 w 278"/>
                <a:gd name="T17" fmla="*/ 139 h 278"/>
                <a:gd name="T18" fmla="*/ 139 w 278"/>
                <a:gd name="T19"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8" h="278">
                  <a:moveTo>
                    <a:pt x="139" y="25"/>
                  </a:moveTo>
                  <a:cubicBezTo>
                    <a:pt x="202" y="25"/>
                    <a:pt x="254" y="76"/>
                    <a:pt x="254" y="139"/>
                  </a:cubicBezTo>
                  <a:cubicBezTo>
                    <a:pt x="254" y="202"/>
                    <a:pt x="202" y="254"/>
                    <a:pt x="139" y="254"/>
                  </a:cubicBezTo>
                  <a:cubicBezTo>
                    <a:pt x="76" y="254"/>
                    <a:pt x="25" y="202"/>
                    <a:pt x="25" y="139"/>
                  </a:cubicBezTo>
                  <a:cubicBezTo>
                    <a:pt x="25" y="76"/>
                    <a:pt x="76" y="25"/>
                    <a:pt x="139" y="25"/>
                  </a:cubicBezTo>
                  <a:close/>
                  <a:moveTo>
                    <a:pt x="139" y="0"/>
                  </a:moveTo>
                  <a:cubicBezTo>
                    <a:pt x="63" y="0"/>
                    <a:pt x="0" y="63"/>
                    <a:pt x="0" y="139"/>
                  </a:cubicBezTo>
                  <a:cubicBezTo>
                    <a:pt x="0" y="216"/>
                    <a:pt x="63" y="278"/>
                    <a:pt x="139" y="278"/>
                  </a:cubicBezTo>
                  <a:cubicBezTo>
                    <a:pt x="216" y="278"/>
                    <a:pt x="278" y="216"/>
                    <a:pt x="278" y="139"/>
                  </a:cubicBezTo>
                  <a:cubicBezTo>
                    <a:pt x="278" y="63"/>
                    <a:pt x="216" y="0"/>
                    <a:pt x="13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Equality">
              <a:extLst>
                <a:ext uri="{FF2B5EF4-FFF2-40B4-BE49-F238E27FC236}">
                  <a16:creationId xmlns:a16="http://schemas.microsoft.com/office/drawing/2014/main" id="{095973BF-19E6-4BCD-98D4-2AFB32BC5BC6}"/>
                </a:ext>
              </a:extLst>
            </p:cNvPr>
            <p:cNvSpPr>
              <a:spLocks/>
            </p:cNvSpPr>
            <p:nvPr>
              <p:custDataLst>
                <p:tags r:id="rId4"/>
              </p:custDataLst>
            </p:nvPr>
          </p:nvSpPr>
          <p:spPr bwMode="auto">
            <a:xfrm>
              <a:off x="15" y="299"/>
              <a:ext cx="209" cy="180"/>
            </a:xfrm>
            <a:custGeom>
              <a:avLst/>
              <a:gdLst>
                <a:gd name="T0" fmla="*/ 529 w 557"/>
                <a:gd name="T1" fmla="*/ 306 h 476"/>
                <a:gd name="T2" fmla="*/ 557 w 557"/>
                <a:gd name="T3" fmla="*/ 229 h 476"/>
                <a:gd name="T4" fmla="*/ 350 w 557"/>
                <a:gd name="T5" fmla="*/ 98 h 476"/>
                <a:gd name="T6" fmla="*/ 284 w 557"/>
                <a:gd name="T7" fmla="*/ 31 h 476"/>
                <a:gd name="T8" fmla="*/ 282 w 557"/>
                <a:gd name="T9" fmla="*/ 30 h 476"/>
                <a:gd name="T10" fmla="*/ 201 w 557"/>
                <a:gd name="T11" fmla="*/ 0 h 476"/>
                <a:gd name="T12" fmla="*/ 126 w 557"/>
                <a:gd name="T13" fmla="*/ 0 h 476"/>
                <a:gd name="T14" fmla="*/ 0 w 557"/>
                <a:gd name="T15" fmla="*/ 126 h 476"/>
                <a:gd name="T16" fmla="*/ 0 w 557"/>
                <a:gd name="T17" fmla="*/ 476 h 476"/>
                <a:gd name="T18" fmla="*/ 328 w 557"/>
                <a:gd name="T19" fmla="*/ 476 h 476"/>
                <a:gd name="T20" fmla="*/ 328 w 557"/>
                <a:gd name="T21" fmla="*/ 250 h 476"/>
                <a:gd name="T22" fmla="*/ 547 w 557"/>
                <a:gd name="T23" fmla="*/ 349 h 476"/>
                <a:gd name="T24" fmla="*/ 529 w 557"/>
                <a:gd name="T25" fmla="*/ 30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7" h="476">
                  <a:moveTo>
                    <a:pt x="529" y="306"/>
                  </a:moveTo>
                  <a:cubicBezTo>
                    <a:pt x="526" y="276"/>
                    <a:pt x="538" y="249"/>
                    <a:pt x="557" y="229"/>
                  </a:cubicBezTo>
                  <a:cubicBezTo>
                    <a:pt x="439" y="207"/>
                    <a:pt x="391" y="149"/>
                    <a:pt x="350" y="98"/>
                  </a:cubicBezTo>
                  <a:cubicBezTo>
                    <a:pt x="329" y="72"/>
                    <a:pt x="310" y="48"/>
                    <a:pt x="284" y="31"/>
                  </a:cubicBezTo>
                  <a:cubicBezTo>
                    <a:pt x="283" y="31"/>
                    <a:pt x="282" y="31"/>
                    <a:pt x="282" y="30"/>
                  </a:cubicBezTo>
                  <a:cubicBezTo>
                    <a:pt x="260" y="12"/>
                    <a:pt x="232" y="0"/>
                    <a:pt x="201" y="0"/>
                  </a:cubicBezTo>
                  <a:lnTo>
                    <a:pt x="126" y="0"/>
                  </a:lnTo>
                  <a:cubicBezTo>
                    <a:pt x="57" y="0"/>
                    <a:pt x="0" y="57"/>
                    <a:pt x="0" y="126"/>
                  </a:cubicBezTo>
                  <a:lnTo>
                    <a:pt x="0" y="476"/>
                  </a:lnTo>
                  <a:lnTo>
                    <a:pt x="328" y="476"/>
                  </a:lnTo>
                  <a:lnTo>
                    <a:pt x="328" y="250"/>
                  </a:lnTo>
                  <a:cubicBezTo>
                    <a:pt x="375" y="292"/>
                    <a:pt x="443" y="332"/>
                    <a:pt x="547" y="349"/>
                  </a:cubicBezTo>
                  <a:cubicBezTo>
                    <a:pt x="538" y="336"/>
                    <a:pt x="531" y="322"/>
                    <a:pt x="529" y="30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Equality">
              <a:extLst>
                <a:ext uri="{FF2B5EF4-FFF2-40B4-BE49-F238E27FC236}">
                  <a16:creationId xmlns:a16="http://schemas.microsoft.com/office/drawing/2014/main" id="{146513E5-CF93-4E2A-BC5C-0EAC71A3F183}"/>
                </a:ext>
              </a:extLst>
            </p:cNvPr>
            <p:cNvSpPr>
              <a:spLocks noEditPoints="1"/>
            </p:cNvSpPr>
            <p:nvPr>
              <p:custDataLst>
                <p:tags r:id="rId5"/>
              </p:custDataLst>
            </p:nvPr>
          </p:nvSpPr>
          <p:spPr bwMode="auto">
            <a:xfrm>
              <a:off x="226" y="299"/>
              <a:ext cx="244" cy="180"/>
            </a:xfrm>
            <a:custGeom>
              <a:avLst/>
              <a:gdLst>
                <a:gd name="T0" fmla="*/ 524 w 650"/>
                <a:gd name="T1" fmla="*/ 24 h 476"/>
                <a:gd name="T2" fmla="*/ 626 w 650"/>
                <a:gd name="T3" fmla="*/ 126 h 476"/>
                <a:gd name="T4" fmla="*/ 626 w 650"/>
                <a:gd name="T5" fmla="*/ 452 h 476"/>
                <a:gd name="T6" fmla="*/ 347 w 650"/>
                <a:gd name="T7" fmla="*/ 452 h 476"/>
                <a:gd name="T8" fmla="*/ 347 w 650"/>
                <a:gd name="T9" fmla="*/ 251 h 476"/>
                <a:gd name="T10" fmla="*/ 347 w 650"/>
                <a:gd name="T11" fmla="*/ 197 h 476"/>
                <a:gd name="T12" fmla="*/ 307 w 650"/>
                <a:gd name="T13" fmla="*/ 233 h 476"/>
                <a:gd name="T14" fmla="*/ 68 w 650"/>
                <a:gd name="T15" fmla="*/ 331 h 476"/>
                <a:gd name="T16" fmla="*/ 67 w 650"/>
                <a:gd name="T17" fmla="*/ 331 h 476"/>
                <a:gd name="T18" fmla="*/ 64 w 650"/>
                <a:gd name="T19" fmla="*/ 331 h 476"/>
                <a:gd name="T20" fmla="*/ 28 w 650"/>
                <a:gd name="T21" fmla="*/ 299 h 476"/>
                <a:gd name="T22" fmla="*/ 60 w 650"/>
                <a:gd name="T23" fmla="*/ 259 h 476"/>
                <a:gd name="T24" fmla="*/ 319 w 650"/>
                <a:gd name="T25" fmla="*/ 113 h 476"/>
                <a:gd name="T26" fmla="*/ 319 w 650"/>
                <a:gd name="T27" fmla="*/ 113 h 476"/>
                <a:gd name="T28" fmla="*/ 319 w 650"/>
                <a:gd name="T29" fmla="*/ 113 h 476"/>
                <a:gd name="T30" fmla="*/ 378 w 650"/>
                <a:gd name="T31" fmla="*/ 52 h 476"/>
                <a:gd name="T32" fmla="*/ 384 w 650"/>
                <a:gd name="T33" fmla="*/ 49 h 476"/>
                <a:gd name="T34" fmla="*/ 449 w 650"/>
                <a:gd name="T35" fmla="*/ 24 h 476"/>
                <a:gd name="T36" fmla="*/ 524 w 650"/>
                <a:gd name="T37" fmla="*/ 24 h 476"/>
                <a:gd name="T38" fmla="*/ 524 w 650"/>
                <a:gd name="T39" fmla="*/ 0 h 476"/>
                <a:gd name="T40" fmla="*/ 449 w 650"/>
                <a:gd name="T41" fmla="*/ 0 h 476"/>
                <a:gd name="T42" fmla="*/ 368 w 650"/>
                <a:gd name="T43" fmla="*/ 30 h 476"/>
                <a:gd name="T44" fmla="*/ 366 w 650"/>
                <a:gd name="T45" fmla="*/ 31 h 476"/>
                <a:gd name="T46" fmla="*/ 301 w 650"/>
                <a:gd name="T47" fmla="*/ 98 h 476"/>
                <a:gd name="T48" fmla="*/ 57 w 650"/>
                <a:gd name="T49" fmla="*/ 235 h 476"/>
                <a:gd name="T50" fmla="*/ 4 w 650"/>
                <a:gd name="T51" fmla="*/ 302 h 476"/>
                <a:gd name="T52" fmla="*/ 64 w 650"/>
                <a:gd name="T53" fmla="*/ 355 h 476"/>
                <a:gd name="T54" fmla="*/ 70 w 650"/>
                <a:gd name="T55" fmla="*/ 355 h 476"/>
                <a:gd name="T56" fmla="*/ 323 w 650"/>
                <a:gd name="T57" fmla="*/ 251 h 476"/>
                <a:gd name="T58" fmla="*/ 323 w 650"/>
                <a:gd name="T59" fmla="*/ 476 h 476"/>
                <a:gd name="T60" fmla="*/ 650 w 650"/>
                <a:gd name="T61" fmla="*/ 476 h 476"/>
                <a:gd name="T62" fmla="*/ 650 w 650"/>
                <a:gd name="T63" fmla="*/ 126 h 476"/>
                <a:gd name="T64" fmla="*/ 524 w 650"/>
                <a:gd name="T65"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0" h="476">
                  <a:moveTo>
                    <a:pt x="524" y="24"/>
                  </a:moveTo>
                  <a:cubicBezTo>
                    <a:pt x="580" y="24"/>
                    <a:pt x="626" y="70"/>
                    <a:pt x="626" y="126"/>
                  </a:cubicBezTo>
                  <a:lnTo>
                    <a:pt x="626" y="452"/>
                  </a:lnTo>
                  <a:lnTo>
                    <a:pt x="347" y="452"/>
                  </a:lnTo>
                  <a:lnTo>
                    <a:pt x="347" y="251"/>
                  </a:lnTo>
                  <a:lnTo>
                    <a:pt x="347" y="197"/>
                  </a:lnTo>
                  <a:lnTo>
                    <a:pt x="307" y="233"/>
                  </a:lnTo>
                  <a:cubicBezTo>
                    <a:pt x="244" y="288"/>
                    <a:pt x="167" y="320"/>
                    <a:pt x="68" y="331"/>
                  </a:cubicBezTo>
                  <a:lnTo>
                    <a:pt x="67" y="331"/>
                  </a:lnTo>
                  <a:cubicBezTo>
                    <a:pt x="66" y="331"/>
                    <a:pt x="65" y="331"/>
                    <a:pt x="64" y="331"/>
                  </a:cubicBezTo>
                  <a:cubicBezTo>
                    <a:pt x="45" y="331"/>
                    <a:pt x="30" y="317"/>
                    <a:pt x="28" y="299"/>
                  </a:cubicBezTo>
                  <a:cubicBezTo>
                    <a:pt x="26" y="279"/>
                    <a:pt x="40" y="262"/>
                    <a:pt x="60" y="259"/>
                  </a:cubicBezTo>
                  <a:cubicBezTo>
                    <a:pt x="215" y="242"/>
                    <a:pt x="273" y="171"/>
                    <a:pt x="319" y="113"/>
                  </a:cubicBezTo>
                  <a:lnTo>
                    <a:pt x="319" y="113"/>
                  </a:lnTo>
                  <a:lnTo>
                    <a:pt x="319" y="113"/>
                  </a:lnTo>
                  <a:cubicBezTo>
                    <a:pt x="338" y="90"/>
                    <a:pt x="356" y="68"/>
                    <a:pt x="378" y="52"/>
                  </a:cubicBezTo>
                  <a:cubicBezTo>
                    <a:pt x="380" y="52"/>
                    <a:pt x="382" y="50"/>
                    <a:pt x="384" y="49"/>
                  </a:cubicBezTo>
                  <a:cubicBezTo>
                    <a:pt x="403" y="33"/>
                    <a:pt x="426" y="24"/>
                    <a:pt x="449" y="24"/>
                  </a:cubicBezTo>
                  <a:lnTo>
                    <a:pt x="524" y="24"/>
                  </a:lnTo>
                  <a:moveTo>
                    <a:pt x="524" y="0"/>
                  </a:moveTo>
                  <a:lnTo>
                    <a:pt x="449" y="0"/>
                  </a:lnTo>
                  <a:cubicBezTo>
                    <a:pt x="418" y="0"/>
                    <a:pt x="390" y="12"/>
                    <a:pt x="368" y="30"/>
                  </a:cubicBezTo>
                  <a:cubicBezTo>
                    <a:pt x="368" y="31"/>
                    <a:pt x="367" y="31"/>
                    <a:pt x="366" y="31"/>
                  </a:cubicBezTo>
                  <a:cubicBezTo>
                    <a:pt x="340" y="48"/>
                    <a:pt x="321" y="72"/>
                    <a:pt x="301" y="98"/>
                  </a:cubicBezTo>
                  <a:cubicBezTo>
                    <a:pt x="255" y="154"/>
                    <a:pt x="203" y="219"/>
                    <a:pt x="57" y="235"/>
                  </a:cubicBezTo>
                  <a:cubicBezTo>
                    <a:pt x="24" y="239"/>
                    <a:pt x="0" y="269"/>
                    <a:pt x="4" y="302"/>
                  </a:cubicBezTo>
                  <a:cubicBezTo>
                    <a:pt x="7" y="332"/>
                    <a:pt x="33" y="355"/>
                    <a:pt x="64" y="355"/>
                  </a:cubicBezTo>
                  <a:cubicBezTo>
                    <a:pt x="66" y="355"/>
                    <a:pt x="68" y="355"/>
                    <a:pt x="70" y="355"/>
                  </a:cubicBezTo>
                  <a:cubicBezTo>
                    <a:pt x="194" y="341"/>
                    <a:pt x="270" y="297"/>
                    <a:pt x="323" y="251"/>
                  </a:cubicBezTo>
                  <a:lnTo>
                    <a:pt x="323" y="476"/>
                  </a:lnTo>
                  <a:lnTo>
                    <a:pt x="650" y="476"/>
                  </a:lnTo>
                  <a:lnTo>
                    <a:pt x="650" y="126"/>
                  </a:lnTo>
                  <a:cubicBezTo>
                    <a:pt x="650" y="57"/>
                    <a:pt x="593" y="0"/>
                    <a:pt x="52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584836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801CC-E369-4545-9557-94A435E4674A}"/>
              </a:ext>
            </a:extLst>
          </p:cNvPr>
          <p:cNvSpPr>
            <a:spLocks noGrp="1"/>
          </p:cNvSpPr>
          <p:nvPr>
            <p:ph type="title"/>
          </p:nvPr>
        </p:nvSpPr>
        <p:spPr/>
        <p:txBody>
          <a:bodyPr/>
          <a:lstStyle/>
          <a:p>
            <a:r>
              <a:rPr lang="mn-MN" dirty="0"/>
              <a:t>УЛААНБААТАР ХОТЫН ХҮНСНИЙ ХАЯГДЛЫН СУДАЛГАА</a:t>
            </a:r>
            <a:endParaRPr lang="en-GB" dirty="0"/>
          </a:p>
        </p:txBody>
      </p:sp>
      <p:sp>
        <p:nvSpPr>
          <p:cNvPr id="5" name="Slide Number Placeholder 4"/>
          <p:cNvSpPr>
            <a:spLocks noGrp="1"/>
          </p:cNvSpPr>
          <p:nvPr>
            <p:ph type="sldNum" sz="quarter" idx="12"/>
          </p:nvPr>
        </p:nvSpPr>
        <p:spPr/>
        <p:txBody>
          <a:bodyPr/>
          <a:lstStyle/>
          <a:p>
            <a:fld id="{C1B07ACB-AE6F-47F7-B02A-AE02D6CD5526}" type="slidenum">
              <a:rPr lang="en-GB" smtClean="0"/>
              <a:pPr/>
              <a:t>20</a:t>
            </a:fld>
            <a:endParaRPr lang="en-GB" dirty="0"/>
          </a:p>
        </p:txBody>
      </p:sp>
      <p:pic>
        <p:nvPicPr>
          <p:cNvPr id="6" name="Picture 5">
            <a:extLst>
              <a:ext uri="{FF2B5EF4-FFF2-40B4-BE49-F238E27FC236}">
                <a16:creationId xmlns:a16="http://schemas.microsoft.com/office/drawing/2014/main" id="{99F975A3-9771-4A97-BB92-C5BFBA88A420}"/>
              </a:ext>
            </a:extLst>
          </p:cNvPr>
          <p:cNvPicPr/>
          <p:nvPr/>
        </p:nvPicPr>
        <p:blipFill>
          <a:blip r:embed="rId2" cstate="screen">
            <a:extLst>
              <a:ext uri="{28A0092B-C50C-407E-A947-70E740481C1C}">
                <a14:useLocalDpi xmlns:a14="http://schemas.microsoft.com/office/drawing/2010/main"/>
              </a:ext>
            </a:extLst>
          </a:blip>
          <a:srcRect/>
          <a:stretch>
            <a:fillRect/>
          </a:stretch>
        </p:blipFill>
        <p:spPr bwMode="auto">
          <a:xfrm>
            <a:off x="1261056" y="6197284"/>
            <a:ext cx="1547628" cy="472236"/>
          </a:xfrm>
          <a:prstGeom prst="rect">
            <a:avLst/>
          </a:prstGeom>
          <a:noFill/>
        </p:spPr>
      </p:pic>
      <p:grpSp>
        <p:nvGrpSpPr>
          <p:cNvPr id="4" name="Gráfico 53">
            <a:extLst>
              <a:ext uri="{FF2B5EF4-FFF2-40B4-BE49-F238E27FC236}">
                <a16:creationId xmlns:a16="http://schemas.microsoft.com/office/drawing/2014/main" id="{436FD453-6253-3E2D-EEB3-93E5F8F6B1BF}"/>
              </a:ext>
            </a:extLst>
          </p:cNvPr>
          <p:cNvGrpSpPr/>
          <p:nvPr/>
        </p:nvGrpSpPr>
        <p:grpSpPr>
          <a:xfrm>
            <a:off x="4677905" y="1538205"/>
            <a:ext cx="2836190" cy="3781589"/>
            <a:chOff x="2898915" y="1388231"/>
            <a:chExt cx="428123" cy="570831"/>
          </a:xfrm>
          <a:solidFill>
            <a:schemeClr val="accent2">
              <a:lumMod val="75000"/>
            </a:schemeClr>
          </a:solidFill>
        </p:grpSpPr>
        <p:sp>
          <p:nvSpPr>
            <p:cNvPr id="7" name="Forma libre 110">
              <a:extLst>
                <a:ext uri="{FF2B5EF4-FFF2-40B4-BE49-F238E27FC236}">
                  <a16:creationId xmlns:a16="http://schemas.microsoft.com/office/drawing/2014/main" id="{C1D84DFB-DD53-F4AD-DB16-CA7A295EEC96}"/>
                </a:ext>
              </a:extLst>
            </p:cNvPr>
            <p:cNvSpPr/>
            <p:nvPr/>
          </p:nvSpPr>
          <p:spPr>
            <a:xfrm>
              <a:off x="3017839" y="1626076"/>
              <a:ext cx="142707" cy="142707"/>
            </a:xfrm>
            <a:custGeom>
              <a:avLst/>
              <a:gdLst>
                <a:gd name="connsiteX0" fmla="*/ 71354 w 142707"/>
                <a:gd name="connsiteY0" fmla="*/ 0 h 142707"/>
                <a:gd name="connsiteX1" fmla="*/ 0 w 142707"/>
                <a:gd name="connsiteY1" fmla="*/ 71354 h 142707"/>
                <a:gd name="connsiteX2" fmla="*/ 71354 w 142707"/>
                <a:gd name="connsiteY2" fmla="*/ 142708 h 142707"/>
                <a:gd name="connsiteX3" fmla="*/ 142708 w 142707"/>
                <a:gd name="connsiteY3" fmla="*/ 71354 h 142707"/>
                <a:gd name="connsiteX4" fmla="*/ 71354 w 142707"/>
                <a:gd name="connsiteY4" fmla="*/ 0 h 142707"/>
                <a:gd name="connsiteX5" fmla="*/ 115438 w 142707"/>
                <a:gd name="connsiteY5" fmla="*/ 55978 h 142707"/>
                <a:gd name="connsiteX6" fmla="*/ 67869 w 142707"/>
                <a:gd name="connsiteY6" fmla="*/ 103548 h 142707"/>
                <a:gd name="connsiteX7" fmla="*/ 59460 w 142707"/>
                <a:gd name="connsiteY7" fmla="*/ 107032 h 142707"/>
                <a:gd name="connsiteX8" fmla="*/ 51051 w 142707"/>
                <a:gd name="connsiteY8" fmla="*/ 103548 h 142707"/>
                <a:gd name="connsiteX9" fmla="*/ 27267 w 142707"/>
                <a:gd name="connsiteY9" fmla="*/ 79764 h 142707"/>
                <a:gd name="connsiteX10" fmla="*/ 27267 w 142707"/>
                <a:gd name="connsiteY10" fmla="*/ 62948 h 142707"/>
                <a:gd name="connsiteX11" fmla="*/ 44083 w 142707"/>
                <a:gd name="connsiteY11" fmla="*/ 62948 h 142707"/>
                <a:gd name="connsiteX12" fmla="*/ 59461 w 142707"/>
                <a:gd name="connsiteY12" fmla="*/ 78322 h 142707"/>
                <a:gd name="connsiteX13" fmla="*/ 98622 w 142707"/>
                <a:gd name="connsiteY13" fmla="*/ 39161 h 142707"/>
                <a:gd name="connsiteX14" fmla="*/ 115438 w 142707"/>
                <a:gd name="connsiteY14" fmla="*/ 39161 h 142707"/>
                <a:gd name="connsiteX15" fmla="*/ 115438 w 142707"/>
                <a:gd name="connsiteY15" fmla="*/ 55978 h 14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2707" h="142707">
                  <a:moveTo>
                    <a:pt x="71354" y="0"/>
                  </a:moveTo>
                  <a:cubicBezTo>
                    <a:pt x="32007" y="0"/>
                    <a:pt x="0" y="32007"/>
                    <a:pt x="0" y="71354"/>
                  </a:cubicBezTo>
                  <a:cubicBezTo>
                    <a:pt x="0" y="110701"/>
                    <a:pt x="32007" y="142708"/>
                    <a:pt x="71354" y="142708"/>
                  </a:cubicBezTo>
                  <a:cubicBezTo>
                    <a:pt x="110701" y="142708"/>
                    <a:pt x="142708" y="110701"/>
                    <a:pt x="142708" y="71354"/>
                  </a:cubicBezTo>
                  <a:cubicBezTo>
                    <a:pt x="142708" y="32008"/>
                    <a:pt x="110700" y="0"/>
                    <a:pt x="71354" y="0"/>
                  </a:cubicBezTo>
                  <a:close/>
                  <a:moveTo>
                    <a:pt x="115438" y="55978"/>
                  </a:moveTo>
                  <a:lnTo>
                    <a:pt x="67869" y="103548"/>
                  </a:lnTo>
                  <a:cubicBezTo>
                    <a:pt x="65546" y="105870"/>
                    <a:pt x="62503" y="107032"/>
                    <a:pt x="59460" y="107032"/>
                  </a:cubicBezTo>
                  <a:cubicBezTo>
                    <a:pt x="56418" y="107032"/>
                    <a:pt x="53375" y="105870"/>
                    <a:pt x="51051" y="103548"/>
                  </a:cubicBezTo>
                  <a:lnTo>
                    <a:pt x="27267" y="79764"/>
                  </a:lnTo>
                  <a:cubicBezTo>
                    <a:pt x="22621" y="75118"/>
                    <a:pt x="22621" y="67592"/>
                    <a:pt x="27267" y="62948"/>
                  </a:cubicBezTo>
                  <a:cubicBezTo>
                    <a:pt x="31913" y="58302"/>
                    <a:pt x="39439" y="58302"/>
                    <a:pt x="44083" y="62948"/>
                  </a:cubicBezTo>
                  <a:lnTo>
                    <a:pt x="59461" y="78322"/>
                  </a:lnTo>
                  <a:lnTo>
                    <a:pt x="98622" y="39161"/>
                  </a:lnTo>
                  <a:cubicBezTo>
                    <a:pt x="103268" y="34515"/>
                    <a:pt x="110794" y="34515"/>
                    <a:pt x="115438" y="39161"/>
                  </a:cubicBezTo>
                  <a:cubicBezTo>
                    <a:pt x="120084" y="43807"/>
                    <a:pt x="120084" y="51332"/>
                    <a:pt x="115438" y="55978"/>
                  </a:cubicBezTo>
                  <a:close/>
                </a:path>
              </a:pathLst>
            </a:custGeom>
            <a:grpFill/>
            <a:ln w="1098" cap="flat">
              <a:noFill/>
              <a:prstDash val="solid"/>
              <a:miter/>
            </a:ln>
          </p:spPr>
          <p:txBody>
            <a:bodyPr rtlCol="0" anchor="ctr"/>
            <a:lstStyle/>
            <a:p>
              <a:endParaRPr lang="es-MX"/>
            </a:p>
          </p:txBody>
        </p:sp>
        <p:sp>
          <p:nvSpPr>
            <p:cNvPr id="8" name="Forma libre 111">
              <a:extLst>
                <a:ext uri="{FF2B5EF4-FFF2-40B4-BE49-F238E27FC236}">
                  <a16:creationId xmlns:a16="http://schemas.microsoft.com/office/drawing/2014/main" id="{E5DE50F1-10DD-25FB-C856-D4D258CCE105}"/>
                </a:ext>
              </a:extLst>
            </p:cNvPr>
            <p:cNvSpPr/>
            <p:nvPr/>
          </p:nvSpPr>
          <p:spPr>
            <a:xfrm>
              <a:off x="2898915" y="1388231"/>
              <a:ext cx="428123" cy="570831"/>
            </a:xfrm>
            <a:custGeom>
              <a:avLst/>
              <a:gdLst>
                <a:gd name="connsiteX0" fmla="*/ 380554 w 428123"/>
                <a:gd name="connsiteY0" fmla="*/ 47570 h 570831"/>
                <a:gd name="connsiteX1" fmla="*/ 332984 w 428123"/>
                <a:gd name="connsiteY1" fmla="*/ 47570 h 570831"/>
                <a:gd name="connsiteX2" fmla="*/ 330923 w 428123"/>
                <a:gd name="connsiteY2" fmla="*/ 47984 h 570831"/>
                <a:gd name="connsiteX3" fmla="*/ 297307 w 428123"/>
                <a:gd name="connsiteY3" fmla="*/ 23784 h 570831"/>
                <a:gd name="connsiteX4" fmla="*/ 261386 w 428123"/>
                <a:gd name="connsiteY4" fmla="*/ 23784 h 570831"/>
                <a:gd name="connsiteX5" fmla="*/ 214062 w 428123"/>
                <a:gd name="connsiteY5" fmla="*/ 0 h 570831"/>
                <a:gd name="connsiteX6" fmla="*/ 166736 w 428123"/>
                <a:gd name="connsiteY6" fmla="*/ 23784 h 570831"/>
                <a:gd name="connsiteX7" fmla="*/ 130815 w 428123"/>
                <a:gd name="connsiteY7" fmla="*/ 23784 h 570831"/>
                <a:gd name="connsiteX8" fmla="*/ 97200 w 428123"/>
                <a:gd name="connsiteY8" fmla="*/ 47984 h 570831"/>
                <a:gd name="connsiteX9" fmla="*/ 95138 w 428123"/>
                <a:gd name="connsiteY9" fmla="*/ 47570 h 570831"/>
                <a:gd name="connsiteX10" fmla="*/ 47569 w 428123"/>
                <a:gd name="connsiteY10" fmla="*/ 47570 h 570831"/>
                <a:gd name="connsiteX11" fmla="*/ 0 w 428123"/>
                <a:gd name="connsiteY11" fmla="*/ 95138 h 570831"/>
                <a:gd name="connsiteX12" fmla="*/ 0 w 428123"/>
                <a:gd name="connsiteY12" fmla="*/ 523261 h 570831"/>
                <a:gd name="connsiteX13" fmla="*/ 47570 w 428123"/>
                <a:gd name="connsiteY13" fmla="*/ 570831 h 570831"/>
                <a:gd name="connsiteX14" fmla="*/ 380555 w 428123"/>
                <a:gd name="connsiteY14" fmla="*/ 570831 h 570831"/>
                <a:gd name="connsiteX15" fmla="*/ 428123 w 428123"/>
                <a:gd name="connsiteY15" fmla="*/ 523261 h 570831"/>
                <a:gd name="connsiteX16" fmla="*/ 428123 w 428123"/>
                <a:gd name="connsiteY16" fmla="*/ 95138 h 570831"/>
                <a:gd name="connsiteX17" fmla="*/ 380554 w 428123"/>
                <a:gd name="connsiteY17" fmla="*/ 47570 h 570831"/>
                <a:gd name="connsiteX18" fmla="*/ 118924 w 428123"/>
                <a:gd name="connsiteY18" fmla="*/ 59461 h 570831"/>
                <a:gd name="connsiteX19" fmla="*/ 130816 w 428123"/>
                <a:gd name="connsiteY19" fmla="*/ 47569 h 570831"/>
                <a:gd name="connsiteX20" fmla="*/ 173090 w 428123"/>
                <a:gd name="connsiteY20" fmla="*/ 47569 h 570831"/>
                <a:gd name="connsiteX21" fmla="*/ 183368 w 428123"/>
                <a:gd name="connsiteY21" fmla="*/ 41657 h 570831"/>
                <a:gd name="connsiteX22" fmla="*/ 214063 w 428123"/>
                <a:gd name="connsiteY22" fmla="*/ 23784 h 570831"/>
                <a:gd name="connsiteX23" fmla="*/ 244757 w 428123"/>
                <a:gd name="connsiteY23" fmla="*/ 41657 h 570831"/>
                <a:gd name="connsiteX24" fmla="*/ 255035 w 428123"/>
                <a:gd name="connsiteY24" fmla="*/ 47569 h 570831"/>
                <a:gd name="connsiteX25" fmla="*/ 297309 w 428123"/>
                <a:gd name="connsiteY25" fmla="*/ 47569 h 570831"/>
                <a:gd name="connsiteX26" fmla="*/ 309202 w 428123"/>
                <a:gd name="connsiteY26" fmla="*/ 59461 h 570831"/>
                <a:gd name="connsiteX27" fmla="*/ 309202 w 428123"/>
                <a:gd name="connsiteY27" fmla="*/ 71354 h 570831"/>
                <a:gd name="connsiteX28" fmla="*/ 285418 w 428123"/>
                <a:gd name="connsiteY28" fmla="*/ 95138 h 570831"/>
                <a:gd name="connsiteX29" fmla="*/ 142708 w 428123"/>
                <a:gd name="connsiteY29" fmla="*/ 95138 h 570831"/>
                <a:gd name="connsiteX30" fmla="*/ 118924 w 428123"/>
                <a:gd name="connsiteY30" fmla="*/ 71354 h 570831"/>
                <a:gd name="connsiteX31" fmla="*/ 118924 w 428123"/>
                <a:gd name="connsiteY31" fmla="*/ 59461 h 570831"/>
                <a:gd name="connsiteX32" fmla="*/ 329501 w 428123"/>
                <a:gd name="connsiteY32" fmla="*/ 448423 h 570831"/>
                <a:gd name="connsiteX33" fmla="*/ 321092 w 428123"/>
                <a:gd name="connsiteY33" fmla="*/ 451908 h 570831"/>
                <a:gd name="connsiteX34" fmla="*/ 312684 w 428123"/>
                <a:gd name="connsiteY34" fmla="*/ 448423 h 570831"/>
                <a:gd name="connsiteX35" fmla="*/ 248305 w 428123"/>
                <a:gd name="connsiteY35" fmla="*/ 384044 h 570831"/>
                <a:gd name="connsiteX36" fmla="*/ 190276 w 428123"/>
                <a:gd name="connsiteY36" fmla="*/ 404338 h 570831"/>
                <a:gd name="connsiteX37" fmla="*/ 95138 w 428123"/>
                <a:gd name="connsiteY37" fmla="*/ 309200 h 570831"/>
                <a:gd name="connsiteX38" fmla="*/ 190276 w 428123"/>
                <a:gd name="connsiteY38" fmla="*/ 214062 h 570831"/>
                <a:gd name="connsiteX39" fmla="*/ 285416 w 428123"/>
                <a:gd name="connsiteY39" fmla="*/ 309200 h 570831"/>
                <a:gd name="connsiteX40" fmla="*/ 265122 w 428123"/>
                <a:gd name="connsiteY40" fmla="*/ 367228 h 570831"/>
                <a:gd name="connsiteX41" fmla="*/ 329501 w 428123"/>
                <a:gd name="connsiteY41" fmla="*/ 431606 h 570831"/>
                <a:gd name="connsiteX42" fmla="*/ 329501 w 428123"/>
                <a:gd name="connsiteY42" fmla="*/ 448423 h 57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28123" h="570831">
                  <a:moveTo>
                    <a:pt x="380554" y="47570"/>
                  </a:moveTo>
                  <a:lnTo>
                    <a:pt x="332984" y="47570"/>
                  </a:lnTo>
                  <a:cubicBezTo>
                    <a:pt x="332253" y="47570"/>
                    <a:pt x="331618" y="47858"/>
                    <a:pt x="330923" y="47984"/>
                  </a:cubicBezTo>
                  <a:cubicBezTo>
                    <a:pt x="326114" y="33960"/>
                    <a:pt x="312944" y="23784"/>
                    <a:pt x="297307" y="23784"/>
                  </a:cubicBezTo>
                  <a:lnTo>
                    <a:pt x="261386" y="23784"/>
                  </a:lnTo>
                  <a:cubicBezTo>
                    <a:pt x="250215" y="8966"/>
                    <a:pt x="232655" y="0"/>
                    <a:pt x="214062" y="0"/>
                  </a:cubicBezTo>
                  <a:cubicBezTo>
                    <a:pt x="195468" y="0"/>
                    <a:pt x="177909" y="8966"/>
                    <a:pt x="166736" y="23784"/>
                  </a:cubicBezTo>
                  <a:lnTo>
                    <a:pt x="130815" y="23784"/>
                  </a:lnTo>
                  <a:cubicBezTo>
                    <a:pt x="115179" y="23784"/>
                    <a:pt x="102007" y="33959"/>
                    <a:pt x="97200" y="47984"/>
                  </a:cubicBezTo>
                  <a:cubicBezTo>
                    <a:pt x="96504" y="47858"/>
                    <a:pt x="95870" y="47570"/>
                    <a:pt x="95138" y="47570"/>
                  </a:cubicBezTo>
                  <a:lnTo>
                    <a:pt x="47569" y="47570"/>
                  </a:lnTo>
                  <a:cubicBezTo>
                    <a:pt x="21334" y="47570"/>
                    <a:pt x="0" y="68903"/>
                    <a:pt x="0" y="95138"/>
                  </a:cubicBezTo>
                  <a:lnTo>
                    <a:pt x="0" y="523261"/>
                  </a:lnTo>
                  <a:cubicBezTo>
                    <a:pt x="0" y="549497"/>
                    <a:pt x="21334" y="570831"/>
                    <a:pt x="47570" y="570831"/>
                  </a:cubicBezTo>
                  <a:lnTo>
                    <a:pt x="380555" y="570831"/>
                  </a:lnTo>
                  <a:cubicBezTo>
                    <a:pt x="406790" y="570831"/>
                    <a:pt x="428123" y="549497"/>
                    <a:pt x="428123" y="523261"/>
                  </a:cubicBezTo>
                  <a:lnTo>
                    <a:pt x="428123" y="95138"/>
                  </a:lnTo>
                  <a:cubicBezTo>
                    <a:pt x="428123" y="68903"/>
                    <a:pt x="406790" y="47570"/>
                    <a:pt x="380554" y="47570"/>
                  </a:cubicBezTo>
                  <a:close/>
                  <a:moveTo>
                    <a:pt x="118924" y="59461"/>
                  </a:moveTo>
                  <a:cubicBezTo>
                    <a:pt x="118924" y="52900"/>
                    <a:pt x="124254" y="47569"/>
                    <a:pt x="130816" y="47569"/>
                  </a:cubicBezTo>
                  <a:lnTo>
                    <a:pt x="173090" y="47569"/>
                  </a:lnTo>
                  <a:cubicBezTo>
                    <a:pt x="177318" y="47569"/>
                    <a:pt x="181231" y="45315"/>
                    <a:pt x="183368" y="41657"/>
                  </a:cubicBezTo>
                  <a:cubicBezTo>
                    <a:pt x="189884" y="30461"/>
                    <a:pt x="201357" y="23784"/>
                    <a:pt x="214063" y="23784"/>
                  </a:cubicBezTo>
                  <a:cubicBezTo>
                    <a:pt x="226768" y="23784"/>
                    <a:pt x="238243" y="30463"/>
                    <a:pt x="244757" y="41657"/>
                  </a:cubicBezTo>
                  <a:cubicBezTo>
                    <a:pt x="246894" y="45315"/>
                    <a:pt x="250808" y="47569"/>
                    <a:pt x="255035" y="47569"/>
                  </a:cubicBezTo>
                  <a:lnTo>
                    <a:pt x="297309" y="47569"/>
                  </a:lnTo>
                  <a:cubicBezTo>
                    <a:pt x="303871" y="47569"/>
                    <a:pt x="309202" y="52899"/>
                    <a:pt x="309202" y="59461"/>
                  </a:cubicBezTo>
                  <a:lnTo>
                    <a:pt x="309202" y="71354"/>
                  </a:lnTo>
                  <a:cubicBezTo>
                    <a:pt x="309202" y="84465"/>
                    <a:pt x="298529" y="95138"/>
                    <a:pt x="285418" y="95138"/>
                  </a:cubicBezTo>
                  <a:lnTo>
                    <a:pt x="142708" y="95138"/>
                  </a:lnTo>
                  <a:cubicBezTo>
                    <a:pt x="129596" y="95138"/>
                    <a:pt x="118924" y="84465"/>
                    <a:pt x="118924" y="71354"/>
                  </a:cubicBezTo>
                  <a:lnTo>
                    <a:pt x="118924" y="59461"/>
                  </a:lnTo>
                  <a:close/>
                  <a:moveTo>
                    <a:pt x="329501" y="448423"/>
                  </a:moveTo>
                  <a:cubicBezTo>
                    <a:pt x="327179" y="450746"/>
                    <a:pt x="324135" y="451908"/>
                    <a:pt x="321092" y="451908"/>
                  </a:cubicBezTo>
                  <a:cubicBezTo>
                    <a:pt x="318050" y="451908"/>
                    <a:pt x="315007" y="450746"/>
                    <a:pt x="312684" y="448423"/>
                  </a:cubicBezTo>
                  <a:lnTo>
                    <a:pt x="248305" y="384044"/>
                  </a:lnTo>
                  <a:cubicBezTo>
                    <a:pt x="232192" y="396569"/>
                    <a:pt x="212218" y="404338"/>
                    <a:pt x="190276" y="404338"/>
                  </a:cubicBezTo>
                  <a:cubicBezTo>
                    <a:pt x="137818" y="404338"/>
                    <a:pt x="95138" y="361658"/>
                    <a:pt x="95138" y="309200"/>
                  </a:cubicBezTo>
                  <a:cubicBezTo>
                    <a:pt x="95138" y="256741"/>
                    <a:pt x="137818" y="214062"/>
                    <a:pt x="190276" y="214062"/>
                  </a:cubicBezTo>
                  <a:cubicBezTo>
                    <a:pt x="242736" y="214062"/>
                    <a:pt x="285416" y="256741"/>
                    <a:pt x="285416" y="309200"/>
                  </a:cubicBezTo>
                  <a:cubicBezTo>
                    <a:pt x="285416" y="331141"/>
                    <a:pt x="277648" y="351116"/>
                    <a:pt x="265122" y="367228"/>
                  </a:cubicBezTo>
                  <a:lnTo>
                    <a:pt x="329501" y="431606"/>
                  </a:lnTo>
                  <a:cubicBezTo>
                    <a:pt x="334146" y="436253"/>
                    <a:pt x="334146" y="443779"/>
                    <a:pt x="329501" y="448423"/>
                  </a:cubicBezTo>
                  <a:close/>
                </a:path>
              </a:pathLst>
            </a:custGeom>
            <a:grpFill/>
            <a:ln w="1098" cap="flat">
              <a:noFill/>
              <a:prstDash val="solid"/>
              <a:miter/>
            </a:ln>
          </p:spPr>
          <p:txBody>
            <a:bodyPr rtlCol="0" anchor="ctr"/>
            <a:lstStyle/>
            <a:p>
              <a:endParaRPr lang="es-MX"/>
            </a:p>
          </p:txBody>
        </p:sp>
      </p:grpSp>
    </p:spTree>
    <p:extLst>
      <p:ext uri="{BB962C8B-B14F-4D97-AF65-F5344CB8AC3E}">
        <p14:creationId xmlns:p14="http://schemas.microsoft.com/office/powerpoint/2010/main" val="30406699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3EEAE87-F0E1-184B-3DBF-65E4426FA31C}"/>
              </a:ext>
            </a:extLst>
          </p:cNvPr>
          <p:cNvSpPr>
            <a:spLocks noGrp="1"/>
          </p:cNvSpPr>
          <p:nvPr>
            <p:ph type="title"/>
          </p:nvPr>
        </p:nvSpPr>
        <p:spPr/>
        <p:txBody>
          <a:bodyPr/>
          <a:lstStyle/>
          <a:p>
            <a:r>
              <a:rPr lang="mn-MN" dirty="0"/>
              <a:t>ХҮНСНИЙ ХАЯГДЛЫН БҮТЦИЙН СУДАЛГАА</a:t>
            </a:r>
            <a:endParaRPr lang="en-GB" dirty="0"/>
          </a:p>
        </p:txBody>
      </p:sp>
      <p:graphicFrame>
        <p:nvGraphicFramePr>
          <p:cNvPr id="29" name="Table 29">
            <a:extLst>
              <a:ext uri="{FF2B5EF4-FFF2-40B4-BE49-F238E27FC236}">
                <a16:creationId xmlns:a16="http://schemas.microsoft.com/office/drawing/2014/main" id="{3EA2F776-1798-B29B-4FF2-D78E8B92751A}"/>
              </a:ext>
            </a:extLst>
          </p:cNvPr>
          <p:cNvGraphicFramePr>
            <a:graphicFrameLocks noGrp="1"/>
          </p:cNvGraphicFramePr>
          <p:nvPr>
            <p:ph idx="1"/>
            <p:extLst>
              <p:ext uri="{D42A27DB-BD31-4B8C-83A1-F6EECF244321}">
                <p14:modId xmlns:p14="http://schemas.microsoft.com/office/powerpoint/2010/main" val="1607694907"/>
              </p:ext>
            </p:extLst>
          </p:nvPr>
        </p:nvGraphicFramePr>
        <p:xfrm>
          <a:off x="1722389" y="1927055"/>
          <a:ext cx="9177259" cy="3181973"/>
        </p:xfrm>
        <a:graphic>
          <a:graphicData uri="http://schemas.openxmlformats.org/drawingml/2006/table">
            <a:tbl>
              <a:tblPr firstRow="1" bandRow="1">
                <a:tableStyleId>{2D5ABB26-0587-4C30-8999-92F81FD0307C}</a:tableStyleId>
              </a:tblPr>
              <a:tblGrid>
                <a:gridCol w="3059086">
                  <a:extLst>
                    <a:ext uri="{9D8B030D-6E8A-4147-A177-3AD203B41FA5}">
                      <a16:colId xmlns:a16="http://schemas.microsoft.com/office/drawing/2014/main" val="3117893545"/>
                    </a:ext>
                  </a:extLst>
                </a:gridCol>
                <a:gridCol w="3496483">
                  <a:extLst>
                    <a:ext uri="{9D8B030D-6E8A-4147-A177-3AD203B41FA5}">
                      <a16:colId xmlns:a16="http://schemas.microsoft.com/office/drawing/2014/main" val="2050489404"/>
                    </a:ext>
                  </a:extLst>
                </a:gridCol>
                <a:gridCol w="2621690">
                  <a:extLst>
                    <a:ext uri="{9D8B030D-6E8A-4147-A177-3AD203B41FA5}">
                      <a16:colId xmlns:a16="http://schemas.microsoft.com/office/drawing/2014/main" val="585639591"/>
                    </a:ext>
                  </a:extLst>
                </a:gridCol>
              </a:tblGrid>
              <a:tr h="653143">
                <a:tc>
                  <a:txBody>
                    <a:bodyPr/>
                    <a:lstStyle/>
                    <a:p>
                      <a:endParaRPr lang="en-GB" dirty="0"/>
                    </a:p>
                  </a:txBody>
                  <a:tcPr>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ctr"/>
                      <a:r>
                        <a:rPr lang="en-GB" b="1" dirty="0">
                          <a:solidFill>
                            <a:schemeClr val="accent2">
                              <a:lumMod val="75000"/>
                            </a:schemeClr>
                          </a:solidFill>
                        </a:rPr>
                        <a:t>2021</a:t>
                      </a:r>
                      <a:r>
                        <a:rPr lang="mn-MN" b="1" dirty="0">
                          <a:solidFill>
                            <a:schemeClr val="accent2">
                              <a:lumMod val="75000"/>
                            </a:schemeClr>
                          </a:solidFill>
                        </a:rPr>
                        <a:t> ОНЫ НАМАР</a:t>
                      </a:r>
                      <a:endParaRPr lang="en-GB" b="1" dirty="0">
                        <a:solidFill>
                          <a:schemeClr val="accent2">
                            <a:lumMod val="75000"/>
                          </a:schemeClr>
                        </a:solidFill>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ctr"/>
                      <a:r>
                        <a:rPr lang="en-GB" b="1" dirty="0">
                          <a:solidFill>
                            <a:schemeClr val="accent2">
                              <a:lumMod val="75000"/>
                            </a:schemeClr>
                          </a:solidFill>
                        </a:rPr>
                        <a:t>2022</a:t>
                      </a:r>
                      <a:r>
                        <a:rPr lang="mn-MN" b="1" dirty="0">
                          <a:solidFill>
                            <a:schemeClr val="accent2">
                              <a:lumMod val="75000"/>
                            </a:schemeClr>
                          </a:solidFill>
                        </a:rPr>
                        <a:t> ОНЫ ХАВАР</a:t>
                      </a:r>
                      <a:endParaRPr lang="en-GB" b="1" dirty="0">
                        <a:solidFill>
                          <a:schemeClr val="accent2">
                            <a:lumMod val="75000"/>
                          </a:schemeClr>
                        </a:solidFill>
                      </a:endParaRPr>
                    </a:p>
                  </a:txBody>
                  <a:tcPr anchor="ct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2814929511"/>
                  </a:ext>
                </a:extLst>
              </a:tr>
              <a:tr h="1264415">
                <a:tc>
                  <a:txBody>
                    <a:bodyPr/>
                    <a:lstStyle/>
                    <a:p>
                      <a:endParaRPr lang="en-GB" dirty="0"/>
                    </a:p>
                  </a:txBody>
                  <a:tcPr>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ctr">
                        <a:lnSpc>
                          <a:spcPct val="150000"/>
                        </a:lnSpc>
                      </a:pPr>
                      <a:r>
                        <a:rPr lang="en-GB" sz="2000" dirty="0">
                          <a:solidFill>
                            <a:schemeClr val="accent2">
                              <a:lumMod val="75000"/>
                            </a:schemeClr>
                          </a:solidFill>
                        </a:rPr>
                        <a:t>154</a:t>
                      </a:r>
                      <a:r>
                        <a:rPr lang="en-GB" sz="1800" dirty="0">
                          <a:solidFill>
                            <a:schemeClr val="accent2">
                              <a:lumMod val="75000"/>
                            </a:schemeClr>
                          </a:solidFill>
                        </a:rPr>
                        <a:t> </a:t>
                      </a:r>
                      <a:r>
                        <a:rPr lang="mn-MN" sz="1800" dirty="0">
                          <a:solidFill>
                            <a:schemeClr val="accent2">
                              <a:lumMod val="75000"/>
                            </a:schemeClr>
                          </a:solidFill>
                        </a:rPr>
                        <a:t>Орон сууцны өрх</a:t>
                      </a:r>
                      <a:endParaRPr lang="en-GB" sz="1800" dirty="0">
                        <a:solidFill>
                          <a:schemeClr val="accent2">
                            <a:lumMod val="75000"/>
                          </a:schemeClr>
                        </a:solidFill>
                      </a:endParaRPr>
                    </a:p>
                    <a:p>
                      <a:pPr algn="ctr">
                        <a:lnSpc>
                          <a:spcPct val="150000"/>
                        </a:lnSpc>
                      </a:pPr>
                      <a:r>
                        <a:rPr lang="en-GB" sz="2000" dirty="0">
                          <a:solidFill>
                            <a:schemeClr val="accent2">
                              <a:lumMod val="75000"/>
                            </a:schemeClr>
                          </a:solidFill>
                        </a:rPr>
                        <a:t>147</a:t>
                      </a:r>
                      <a:r>
                        <a:rPr lang="en-GB" sz="1800" dirty="0">
                          <a:solidFill>
                            <a:schemeClr val="accent2">
                              <a:lumMod val="75000"/>
                            </a:schemeClr>
                          </a:solidFill>
                        </a:rPr>
                        <a:t> </a:t>
                      </a:r>
                      <a:r>
                        <a:rPr lang="mn-MN" sz="1800" dirty="0">
                          <a:solidFill>
                            <a:schemeClr val="accent2">
                              <a:lumMod val="75000"/>
                            </a:schemeClr>
                          </a:solidFill>
                        </a:rPr>
                        <a:t>Гэр хорооллын өрх</a:t>
                      </a:r>
                      <a:endParaRPr lang="en-GB" sz="1800" dirty="0">
                        <a:solidFill>
                          <a:schemeClr val="accent2">
                            <a:lumMod val="75000"/>
                          </a:schemeClr>
                        </a:solidFill>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ctr">
                        <a:lnSpc>
                          <a:spcPct val="150000"/>
                        </a:lnSpc>
                      </a:pPr>
                      <a:r>
                        <a:rPr lang="en-GB" sz="2000" dirty="0">
                          <a:solidFill>
                            <a:schemeClr val="accent2">
                              <a:lumMod val="75000"/>
                            </a:schemeClr>
                          </a:solidFill>
                        </a:rPr>
                        <a:t>37</a:t>
                      </a:r>
                      <a:r>
                        <a:rPr lang="en-GB" sz="1800" dirty="0">
                          <a:solidFill>
                            <a:schemeClr val="accent2">
                              <a:lumMod val="75000"/>
                            </a:schemeClr>
                          </a:solidFill>
                        </a:rPr>
                        <a:t> </a:t>
                      </a:r>
                      <a:r>
                        <a:rPr lang="mn-MN" sz="1800" dirty="0">
                          <a:solidFill>
                            <a:schemeClr val="accent2">
                              <a:lumMod val="75000"/>
                            </a:schemeClr>
                          </a:solidFill>
                        </a:rPr>
                        <a:t>Орон сууцны өрх</a:t>
                      </a:r>
                      <a:endParaRPr lang="en-GB" sz="1800" dirty="0">
                        <a:solidFill>
                          <a:schemeClr val="accent2">
                            <a:lumMod val="75000"/>
                          </a:schemeClr>
                        </a:solidFill>
                      </a:endParaRPr>
                    </a:p>
                    <a:p>
                      <a:pPr algn="ctr">
                        <a:lnSpc>
                          <a:spcPct val="150000"/>
                        </a:lnSpc>
                      </a:pPr>
                      <a:r>
                        <a:rPr lang="en-GB" sz="2000" dirty="0">
                          <a:solidFill>
                            <a:schemeClr val="accent2">
                              <a:lumMod val="75000"/>
                            </a:schemeClr>
                          </a:solidFill>
                        </a:rPr>
                        <a:t>24</a:t>
                      </a:r>
                      <a:r>
                        <a:rPr lang="en-GB" sz="1800" dirty="0">
                          <a:solidFill>
                            <a:schemeClr val="accent2">
                              <a:lumMod val="75000"/>
                            </a:schemeClr>
                          </a:solidFill>
                        </a:rPr>
                        <a:t> </a:t>
                      </a:r>
                      <a:r>
                        <a:rPr lang="mn-MN" sz="1800" dirty="0">
                          <a:solidFill>
                            <a:schemeClr val="accent2">
                              <a:lumMod val="75000"/>
                            </a:schemeClr>
                          </a:solidFill>
                        </a:rPr>
                        <a:t>Гэр хорооллын өрх</a:t>
                      </a:r>
                      <a:endParaRPr lang="en-GB" sz="1800" dirty="0">
                        <a:solidFill>
                          <a:schemeClr val="accent2">
                            <a:lumMod val="75000"/>
                          </a:schemeClr>
                        </a:solidFill>
                      </a:endParaRPr>
                    </a:p>
                  </a:txBody>
                  <a:tcPr anchor="ct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2249122628"/>
                  </a:ext>
                </a:extLst>
              </a:tr>
              <a:tr h="1264415">
                <a:tc>
                  <a:txBody>
                    <a:bodyPr/>
                    <a:lstStyle/>
                    <a:p>
                      <a:endParaRPr lang="en-GB" dirty="0"/>
                    </a:p>
                  </a:txBody>
                  <a:tcPr>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2000" dirty="0">
                          <a:solidFill>
                            <a:schemeClr val="accent2">
                              <a:lumMod val="75000"/>
                            </a:schemeClr>
                          </a:solidFill>
                        </a:rPr>
                        <a:t>20</a:t>
                      </a:r>
                      <a:endParaRPr lang="en-GB" sz="1800" dirty="0">
                        <a:solidFill>
                          <a:schemeClr val="accent2">
                            <a:lumMod val="75000"/>
                          </a:schemeClr>
                        </a:solidFill>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2000" dirty="0">
                          <a:solidFill>
                            <a:schemeClr val="accent2">
                              <a:lumMod val="75000"/>
                            </a:schemeClr>
                          </a:solidFill>
                        </a:rPr>
                        <a:t>11</a:t>
                      </a:r>
                    </a:p>
                  </a:txBody>
                  <a:tcPr anchor="ct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79302355"/>
                  </a:ext>
                </a:extLst>
              </a:tr>
            </a:tbl>
          </a:graphicData>
        </a:graphic>
      </p:graphicFrame>
      <p:sp>
        <p:nvSpPr>
          <p:cNvPr id="4" name="Slide Number Placeholder 3">
            <a:extLst>
              <a:ext uri="{FF2B5EF4-FFF2-40B4-BE49-F238E27FC236}">
                <a16:creationId xmlns:a16="http://schemas.microsoft.com/office/drawing/2014/main" id="{9EBF9885-0E76-2FD0-48D9-3BE90AC382FF}"/>
              </a:ext>
            </a:extLst>
          </p:cNvPr>
          <p:cNvSpPr>
            <a:spLocks noGrp="1"/>
          </p:cNvSpPr>
          <p:nvPr>
            <p:ph type="sldNum" sz="quarter" idx="12"/>
          </p:nvPr>
        </p:nvSpPr>
        <p:spPr/>
        <p:txBody>
          <a:bodyPr/>
          <a:lstStyle/>
          <a:p>
            <a:fld id="{22BD14A0-459B-CA46-A763-3163F186A6C2}" type="slidenum">
              <a:rPr lang="en-US" smtClean="0"/>
              <a:t>21</a:t>
            </a:fld>
            <a:endParaRPr lang="en-US"/>
          </a:p>
        </p:txBody>
      </p:sp>
      <p:sp>
        <p:nvSpPr>
          <p:cNvPr id="17" name="Gráfico 52">
            <a:extLst>
              <a:ext uri="{FF2B5EF4-FFF2-40B4-BE49-F238E27FC236}">
                <a16:creationId xmlns:a16="http://schemas.microsoft.com/office/drawing/2014/main" id="{B57DAACB-DDF6-C740-1A41-C0785F6F06B6}"/>
              </a:ext>
            </a:extLst>
          </p:cNvPr>
          <p:cNvSpPr/>
          <p:nvPr/>
        </p:nvSpPr>
        <p:spPr>
          <a:xfrm>
            <a:off x="2854307" y="2775275"/>
            <a:ext cx="729487" cy="650746"/>
          </a:xfrm>
          <a:custGeom>
            <a:avLst/>
            <a:gdLst>
              <a:gd name="connsiteX0" fmla="*/ 571087 w 571086"/>
              <a:gd name="connsiteY0" fmla="*/ 178465 h 571086"/>
              <a:gd name="connsiteX1" fmla="*/ 571087 w 571086"/>
              <a:gd name="connsiteY1" fmla="*/ 107079 h 571086"/>
              <a:gd name="connsiteX2" fmla="*/ 285544 w 571086"/>
              <a:gd name="connsiteY2" fmla="*/ 0 h 571086"/>
              <a:gd name="connsiteX3" fmla="*/ 0 w 571086"/>
              <a:gd name="connsiteY3" fmla="*/ 107079 h 571086"/>
              <a:gd name="connsiteX4" fmla="*/ 0 w 571086"/>
              <a:gd name="connsiteY4" fmla="*/ 178464 h 571086"/>
              <a:gd name="connsiteX5" fmla="*/ 35693 w 571086"/>
              <a:gd name="connsiteY5" fmla="*/ 178464 h 571086"/>
              <a:gd name="connsiteX6" fmla="*/ 35693 w 571086"/>
              <a:gd name="connsiteY6" fmla="*/ 535394 h 571086"/>
              <a:gd name="connsiteX7" fmla="*/ 0 w 571086"/>
              <a:gd name="connsiteY7" fmla="*/ 535394 h 571086"/>
              <a:gd name="connsiteX8" fmla="*/ 0 w 571086"/>
              <a:gd name="connsiteY8" fmla="*/ 571087 h 571086"/>
              <a:gd name="connsiteX9" fmla="*/ 571087 w 571086"/>
              <a:gd name="connsiteY9" fmla="*/ 571087 h 571086"/>
              <a:gd name="connsiteX10" fmla="*/ 571087 w 571086"/>
              <a:gd name="connsiteY10" fmla="*/ 535394 h 571086"/>
              <a:gd name="connsiteX11" fmla="*/ 535394 w 571086"/>
              <a:gd name="connsiteY11" fmla="*/ 535394 h 571086"/>
              <a:gd name="connsiteX12" fmla="*/ 535394 w 571086"/>
              <a:gd name="connsiteY12" fmla="*/ 178465 h 571086"/>
              <a:gd name="connsiteX13" fmla="*/ 321236 w 571086"/>
              <a:gd name="connsiteY13" fmla="*/ 178465 h 571086"/>
              <a:gd name="connsiteX14" fmla="*/ 428315 w 571086"/>
              <a:gd name="connsiteY14" fmla="*/ 178465 h 571086"/>
              <a:gd name="connsiteX15" fmla="*/ 428315 w 571086"/>
              <a:gd name="connsiteY15" fmla="*/ 285544 h 571086"/>
              <a:gd name="connsiteX16" fmla="*/ 321236 w 571086"/>
              <a:gd name="connsiteY16" fmla="*/ 285544 h 571086"/>
              <a:gd name="connsiteX17" fmla="*/ 142772 w 571086"/>
              <a:gd name="connsiteY17" fmla="*/ 178465 h 571086"/>
              <a:gd name="connsiteX18" fmla="*/ 249851 w 571086"/>
              <a:gd name="connsiteY18" fmla="*/ 178465 h 571086"/>
              <a:gd name="connsiteX19" fmla="*/ 249851 w 571086"/>
              <a:gd name="connsiteY19" fmla="*/ 285544 h 571086"/>
              <a:gd name="connsiteX20" fmla="*/ 142772 w 571086"/>
              <a:gd name="connsiteY20" fmla="*/ 285544 h 571086"/>
              <a:gd name="connsiteX21" fmla="*/ 142772 w 571086"/>
              <a:gd name="connsiteY21" fmla="*/ 356930 h 571086"/>
              <a:gd name="connsiteX22" fmla="*/ 249851 w 571086"/>
              <a:gd name="connsiteY22" fmla="*/ 356930 h 571086"/>
              <a:gd name="connsiteX23" fmla="*/ 249851 w 571086"/>
              <a:gd name="connsiteY23" fmla="*/ 464008 h 571086"/>
              <a:gd name="connsiteX24" fmla="*/ 142772 w 571086"/>
              <a:gd name="connsiteY24" fmla="*/ 464008 h 571086"/>
              <a:gd name="connsiteX25" fmla="*/ 321236 w 571086"/>
              <a:gd name="connsiteY25" fmla="*/ 535395 h 571086"/>
              <a:gd name="connsiteX26" fmla="*/ 321236 w 571086"/>
              <a:gd name="connsiteY26" fmla="*/ 356930 h 571086"/>
              <a:gd name="connsiteX27" fmla="*/ 428315 w 571086"/>
              <a:gd name="connsiteY27" fmla="*/ 356930 h 571086"/>
              <a:gd name="connsiteX28" fmla="*/ 428315 w 571086"/>
              <a:gd name="connsiteY28" fmla="*/ 535395 h 57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71086" h="571086">
                <a:moveTo>
                  <a:pt x="571087" y="178465"/>
                </a:moveTo>
                <a:lnTo>
                  <a:pt x="571087" y="107079"/>
                </a:lnTo>
                <a:lnTo>
                  <a:pt x="285544" y="0"/>
                </a:lnTo>
                <a:lnTo>
                  <a:pt x="0" y="107079"/>
                </a:lnTo>
                <a:lnTo>
                  <a:pt x="0" y="178464"/>
                </a:lnTo>
                <a:lnTo>
                  <a:pt x="35693" y="178464"/>
                </a:lnTo>
                <a:lnTo>
                  <a:pt x="35693" y="535394"/>
                </a:lnTo>
                <a:lnTo>
                  <a:pt x="0" y="535394"/>
                </a:lnTo>
                <a:lnTo>
                  <a:pt x="0" y="571087"/>
                </a:lnTo>
                <a:lnTo>
                  <a:pt x="571087" y="571087"/>
                </a:lnTo>
                <a:lnTo>
                  <a:pt x="571087" y="535394"/>
                </a:lnTo>
                <a:lnTo>
                  <a:pt x="535394" y="535394"/>
                </a:lnTo>
                <a:lnTo>
                  <a:pt x="535394" y="178465"/>
                </a:lnTo>
                <a:close/>
                <a:moveTo>
                  <a:pt x="321236" y="178465"/>
                </a:moveTo>
                <a:lnTo>
                  <a:pt x="428315" y="178465"/>
                </a:lnTo>
                <a:lnTo>
                  <a:pt x="428315" y="285544"/>
                </a:lnTo>
                <a:lnTo>
                  <a:pt x="321236" y="285544"/>
                </a:lnTo>
                <a:close/>
                <a:moveTo>
                  <a:pt x="142772" y="178465"/>
                </a:moveTo>
                <a:lnTo>
                  <a:pt x="249851" y="178465"/>
                </a:lnTo>
                <a:lnTo>
                  <a:pt x="249851" y="285544"/>
                </a:lnTo>
                <a:lnTo>
                  <a:pt x="142772" y="285544"/>
                </a:lnTo>
                <a:close/>
                <a:moveTo>
                  <a:pt x="142772" y="356930"/>
                </a:moveTo>
                <a:lnTo>
                  <a:pt x="249851" y="356930"/>
                </a:lnTo>
                <a:lnTo>
                  <a:pt x="249851" y="464008"/>
                </a:lnTo>
                <a:lnTo>
                  <a:pt x="142772" y="464008"/>
                </a:lnTo>
                <a:close/>
                <a:moveTo>
                  <a:pt x="321236" y="535395"/>
                </a:moveTo>
                <a:lnTo>
                  <a:pt x="321236" y="356930"/>
                </a:lnTo>
                <a:lnTo>
                  <a:pt x="428315" y="356930"/>
                </a:lnTo>
                <a:lnTo>
                  <a:pt x="428315" y="535395"/>
                </a:lnTo>
                <a:close/>
              </a:path>
            </a:pathLst>
          </a:custGeom>
          <a:solidFill>
            <a:schemeClr val="accent2">
              <a:lumMod val="75000"/>
            </a:schemeClr>
          </a:solidFill>
          <a:ln w="1072" cap="flat">
            <a:noFill/>
            <a:prstDash val="solid"/>
            <a:miter/>
          </a:ln>
        </p:spPr>
        <p:txBody>
          <a:bodyPr rtlCol="0" anchor="ctr"/>
          <a:lstStyle/>
          <a:p>
            <a:endParaRPr lang="es-MX"/>
          </a:p>
        </p:txBody>
      </p:sp>
      <p:grpSp>
        <p:nvGrpSpPr>
          <p:cNvPr id="18" name="Gráfico 62">
            <a:extLst>
              <a:ext uri="{FF2B5EF4-FFF2-40B4-BE49-F238E27FC236}">
                <a16:creationId xmlns:a16="http://schemas.microsoft.com/office/drawing/2014/main" id="{BED9AB9C-2806-ED8E-D32C-7989FCF8C062}"/>
              </a:ext>
            </a:extLst>
          </p:cNvPr>
          <p:cNvGrpSpPr/>
          <p:nvPr/>
        </p:nvGrpSpPr>
        <p:grpSpPr>
          <a:xfrm>
            <a:off x="2759916" y="4038430"/>
            <a:ext cx="754791" cy="708400"/>
            <a:chOff x="1743271" y="1569831"/>
            <a:chExt cx="570831" cy="570831"/>
          </a:xfrm>
          <a:solidFill>
            <a:schemeClr val="accent2">
              <a:lumMod val="75000"/>
            </a:schemeClr>
          </a:solidFill>
        </p:grpSpPr>
        <p:sp>
          <p:nvSpPr>
            <p:cNvPr id="19" name="Forma libre 138">
              <a:extLst>
                <a:ext uri="{FF2B5EF4-FFF2-40B4-BE49-F238E27FC236}">
                  <a16:creationId xmlns:a16="http://schemas.microsoft.com/office/drawing/2014/main" id="{1FDDBD4A-9A2D-DE98-17AD-E72878D77D5A}"/>
                </a:ext>
              </a:extLst>
            </p:cNvPr>
            <p:cNvSpPr/>
            <p:nvPr/>
          </p:nvSpPr>
          <p:spPr>
            <a:xfrm>
              <a:off x="1743271" y="1605524"/>
              <a:ext cx="275690" cy="346560"/>
            </a:xfrm>
            <a:custGeom>
              <a:avLst/>
              <a:gdLst>
                <a:gd name="connsiteX0" fmla="*/ 275690 w 275690"/>
                <a:gd name="connsiteY0" fmla="*/ 194453 h 346560"/>
                <a:gd name="connsiteX1" fmla="*/ 79886 w 275690"/>
                <a:gd name="connsiteY1" fmla="*/ 0 h 346560"/>
                <a:gd name="connsiteX2" fmla="*/ 52185 w 275690"/>
                <a:gd name="connsiteY2" fmla="*/ 275161 h 346560"/>
                <a:gd name="connsiteX3" fmla="*/ 123584 w 275690"/>
                <a:gd name="connsiteY3" fmla="*/ 346561 h 346560"/>
                <a:gd name="connsiteX4" fmla="*/ 275690 w 275690"/>
                <a:gd name="connsiteY4" fmla="*/ 194453 h 34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690" h="346560">
                  <a:moveTo>
                    <a:pt x="275690" y="194453"/>
                  </a:moveTo>
                  <a:lnTo>
                    <a:pt x="79886" y="0"/>
                  </a:lnTo>
                  <a:cubicBezTo>
                    <a:pt x="-16415" y="64872"/>
                    <a:pt x="-25650" y="197329"/>
                    <a:pt x="52185" y="275161"/>
                  </a:cubicBezTo>
                  <a:lnTo>
                    <a:pt x="123584" y="346561"/>
                  </a:lnTo>
                  <a:cubicBezTo>
                    <a:pt x="123583" y="346560"/>
                    <a:pt x="275690" y="194453"/>
                    <a:pt x="275690" y="194453"/>
                  </a:cubicBezTo>
                  <a:close/>
                </a:path>
              </a:pathLst>
            </a:custGeom>
            <a:grpFill/>
            <a:ln w="1072" cap="flat">
              <a:noFill/>
              <a:prstDash val="solid"/>
              <a:miter/>
            </a:ln>
          </p:spPr>
          <p:txBody>
            <a:bodyPr rtlCol="0" anchor="ctr"/>
            <a:lstStyle/>
            <a:p>
              <a:endParaRPr lang="es-MX"/>
            </a:p>
          </p:txBody>
        </p:sp>
        <p:sp>
          <p:nvSpPr>
            <p:cNvPr id="20" name="Forma libre 139">
              <a:extLst>
                <a:ext uri="{FF2B5EF4-FFF2-40B4-BE49-F238E27FC236}">
                  <a16:creationId xmlns:a16="http://schemas.microsoft.com/office/drawing/2014/main" id="{B8A40AFF-BC2B-5DDD-67E4-ED246BCC4384}"/>
                </a:ext>
              </a:extLst>
            </p:cNvPr>
            <p:cNvSpPr/>
            <p:nvPr/>
          </p:nvSpPr>
          <p:spPr>
            <a:xfrm>
              <a:off x="1814657" y="1605524"/>
              <a:ext cx="499700" cy="499700"/>
            </a:xfrm>
            <a:custGeom>
              <a:avLst/>
              <a:gdLst>
                <a:gd name="connsiteX0" fmla="*/ 344239 w 499700"/>
                <a:gd name="connsiteY0" fmla="*/ 286486 h 499700"/>
                <a:gd name="connsiteX1" fmla="*/ 453392 w 499700"/>
                <a:gd name="connsiteY1" fmla="*/ 240179 h 499700"/>
                <a:gd name="connsiteX2" fmla="*/ 462002 w 499700"/>
                <a:gd name="connsiteY2" fmla="*/ 37699 h 499700"/>
                <a:gd name="connsiteX3" fmla="*/ 259521 w 499700"/>
                <a:gd name="connsiteY3" fmla="*/ 46308 h 499700"/>
                <a:gd name="connsiteX4" fmla="*/ 229761 w 499700"/>
                <a:gd name="connsiteY4" fmla="*/ 219464 h 499700"/>
                <a:gd name="connsiteX5" fmla="*/ 0 w 499700"/>
                <a:gd name="connsiteY5" fmla="*/ 449222 h 499700"/>
                <a:gd name="connsiteX6" fmla="*/ 50476 w 499700"/>
                <a:gd name="connsiteY6" fmla="*/ 499700 h 499700"/>
                <a:gd name="connsiteX7" fmla="*/ 228990 w 499700"/>
                <a:gd name="connsiteY7" fmla="*/ 321186 h 499700"/>
                <a:gd name="connsiteX8" fmla="*/ 410363 w 499700"/>
                <a:gd name="connsiteY8" fmla="*/ 499700 h 499700"/>
                <a:gd name="connsiteX9" fmla="*/ 460841 w 499700"/>
                <a:gd name="connsiteY9" fmla="*/ 449222 h 499700"/>
                <a:gd name="connsiteX10" fmla="*/ 280421 w 499700"/>
                <a:gd name="connsiteY10" fmla="*/ 270042 h 499700"/>
                <a:gd name="connsiteX11" fmla="*/ 344239 w 499700"/>
                <a:gd name="connsiteY11" fmla="*/ 286486 h 49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700" h="499700">
                  <a:moveTo>
                    <a:pt x="344239" y="286486"/>
                  </a:moveTo>
                  <a:cubicBezTo>
                    <a:pt x="382860" y="286486"/>
                    <a:pt x="422667" y="270905"/>
                    <a:pt x="453392" y="240179"/>
                  </a:cubicBezTo>
                  <a:cubicBezTo>
                    <a:pt x="511603" y="181986"/>
                    <a:pt x="515454" y="91151"/>
                    <a:pt x="462002" y="37699"/>
                  </a:cubicBezTo>
                  <a:cubicBezTo>
                    <a:pt x="408515" y="-15753"/>
                    <a:pt x="317696" y="-11901"/>
                    <a:pt x="259521" y="46308"/>
                  </a:cubicBezTo>
                  <a:cubicBezTo>
                    <a:pt x="210880" y="94938"/>
                    <a:pt x="200768" y="166110"/>
                    <a:pt x="229761" y="219464"/>
                  </a:cubicBezTo>
                  <a:lnTo>
                    <a:pt x="0" y="449222"/>
                  </a:lnTo>
                  <a:lnTo>
                    <a:pt x="50476" y="499700"/>
                  </a:lnTo>
                  <a:lnTo>
                    <a:pt x="228990" y="321186"/>
                  </a:lnTo>
                  <a:lnTo>
                    <a:pt x="410363" y="499700"/>
                  </a:lnTo>
                  <a:lnTo>
                    <a:pt x="460841" y="449222"/>
                  </a:lnTo>
                  <a:lnTo>
                    <a:pt x="280421" y="270042"/>
                  </a:lnTo>
                  <a:cubicBezTo>
                    <a:pt x="300024" y="280655"/>
                    <a:pt x="321803" y="286486"/>
                    <a:pt x="344239" y="286486"/>
                  </a:cubicBezTo>
                  <a:close/>
                </a:path>
              </a:pathLst>
            </a:custGeom>
            <a:grpFill/>
            <a:ln w="1072" cap="flat">
              <a:noFill/>
              <a:prstDash val="solid"/>
              <a:miter/>
            </a:ln>
          </p:spPr>
          <p:txBody>
            <a:bodyPr rtlCol="0" anchor="ctr"/>
            <a:lstStyle/>
            <a:p>
              <a:endParaRPr lang="es-MX"/>
            </a:p>
          </p:txBody>
        </p:sp>
      </p:grpSp>
      <p:sp>
        <p:nvSpPr>
          <p:cNvPr id="27" name="TextBox 26">
            <a:extLst>
              <a:ext uri="{FF2B5EF4-FFF2-40B4-BE49-F238E27FC236}">
                <a16:creationId xmlns:a16="http://schemas.microsoft.com/office/drawing/2014/main" id="{04244740-C4FE-575A-47F1-9BE7079330D4}"/>
              </a:ext>
            </a:extLst>
          </p:cNvPr>
          <p:cNvSpPr txBox="1"/>
          <p:nvPr/>
        </p:nvSpPr>
        <p:spPr>
          <a:xfrm>
            <a:off x="2439117" y="3501357"/>
            <a:ext cx="1629290" cy="338554"/>
          </a:xfrm>
          <a:prstGeom prst="rect">
            <a:avLst/>
          </a:prstGeom>
          <a:noFill/>
        </p:spPr>
        <p:txBody>
          <a:bodyPr wrap="square" rtlCol="0">
            <a:spAutoFit/>
          </a:bodyPr>
          <a:lstStyle/>
          <a:p>
            <a:pPr algn="ctr"/>
            <a:r>
              <a:rPr lang="mn-MN" sz="1600" dirty="0">
                <a:solidFill>
                  <a:schemeClr val="accent2"/>
                </a:solidFill>
              </a:rPr>
              <a:t>АЙЛ ӨРХ</a:t>
            </a:r>
            <a:endParaRPr lang="en-GB" sz="1600" dirty="0">
              <a:solidFill>
                <a:schemeClr val="accent2"/>
              </a:solidFill>
            </a:endParaRPr>
          </a:p>
        </p:txBody>
      </p:sp>
      <p:sp>
        <p:nvSpPr>
          <p:cNvPr id="28" name="TextBox 27">
            <a:extLst>
              <a:ext uri="{FF2B5EF4-FFF2-40B4-BE49-F238E27FC236}">
                <a16:creationId xmlns:a16="http://schemas.microsoft.com/office/drawing/2014/main" id="{CBE287BC-2D84-080C-DF7B-C8339B1C8482}"/>
              </a:ext>
            </a:extLst>
          </p:cNvPr>
          <p:cNvSpPr txBox="1"/>
          <p:nvPr/>
        </p:nvSpPr>
        <p:spPr>
          <a:xfrm>
            <a:off x="1993392" y="4747860"/>
            <a:ext cx="2075015" cy="338554"/>
          </a:xfrm>
          <a:prstGeom prst="rect">
            <a:avLst/>
          </a:prstGeom>
          <a:noFill/>
        </p:spPr>
        <p:txBody>
          <a:bodyPr wrap="square" rtlCol="0">
            <a:spAutoFit/>
          </a:bodyPr>
          <a:lstStyle/>
          <a:p>
            <a:pPr algn="ctr"/>
            <a:r>
              <a:rPr lang="mn-MN" sz="1600" dirty="0">
                <a:solidFill>
                  <a:schemeClr val="accent2"/>
                </a:solidFill>
              </a:rPr>
              <a:t>БАЙГУУЛЛАГА</a:t>
            </a:r>
            <a:endParaRPr lang="en-GB" sz="1600" dirty="0">
              <a:solidFill>
                <a:schemeClr val="accent2"/>
              </a:solidFill>
            </a:endParaRPr>
          </a:p>
        </p:txBody>
      </p:sp>
    </p:spTree>
    <p:extLst>
      <p:ext uri="{BB962C8B-B14F-4D97-AF65-F5344CB8AC3E}">
        <p14:creationId xmlns:p14="http://schemas.microsoft.com/office/powerpoint/2010/main" val="607957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C0607B8-C361-C4D6-2B27-712A6735CAC0}"/>
              </a:ext>
            </a:extLst>
          </p:cNvPr>
          <p:cNvSpPr>
            <a:spLocks noGrp="1"/>
          </p:cNvSpPr>
          <p:nvPr>
            <p:ph type="title"/>
          </p:nvPr>
        </p:nvSpPr>
        <p:spPr/>
        <p:txBody>
          <a:bodyPr/>
          <a:lstStyle/>
          <a:p>
            <a:r>
              <a:rPr lang="mn-MN" dirty="0"/>
              <a:t>БҮТЦИЙН СУДАЛГАА </a:t>
            </a:r>
            <a:r>
              <a:rPr lang="en-GB" dirty="0"/>
              <a:t>- </a:t>
            </a:r>
            <a:r>
              <a:rPr lang="mn-MN" dirty="0"/>
              <a:t>ӨРХ</a:t>
            </a:r>
            <a:endParaRPr lang="en-GB" dirty="0"/>
          </a:p>
        </p:txBody>
      </p:sp>
      <p:sp>
        <p:nvSpPr>
          <p:cNvPr id="7" name="Slide Number Placeholder 6">
            <a:extLst>
              <a:ext uri="{FF2B5EF4-FFF2-40B4-BE49-F238E27FC236}">
                <a16:creationId xmlns:a16="http://schemas.microsoft.com/office/drawing/2014/main" id="{E0E8368C-16BE-AC8B-7E70-1BD1911348FF}"/>
              </a:ext>
            </a:extLst>
          </p:cNvPr>
          <p:cNvSpPr>
            <a:spLocks noGrp="1"/>
          </p:cNvSpPr>
          <p:nvPr>
            <p:ph type="sldNum" sz="quarter" idx="12"/>
          </p:nvPr>
        </p:nvSpPr>
        <p:spPr/>
        <p:txBody>
          <a:bodyPr/>
          <a:lstStyle/>
          <a:p>
            <a:fld id="{22BD14A0-459B-CA46-A763-3163F186A6C2}" type="slidenum">
              <a:rPr lang="en-US" smtClean="0"/>
              <a:t>22</a:t>
            </a:fld>
            <a:endParaRPr lang="en-US"/>
          </a:p>
        </p:txBody>
      </p:sp>
      <p:graphicFrame>
        <p:nvGraphicFramePr>
          <p:cNvPr id="10" name="Diagram 9" descr="P1016#yIS1">
            <a:extLst>
              <a:ext uri="{FF2B5EF4-FFF2-40B4-BE49-F238E27FC236}">
                <a16:creationId xmlns:a16="http://schemas.microsoft.com/office/drawing/2014/main" id="{97C56BBA-1112-4BE8-A794-010E0A42420A}"/>
              </a:ext>
            </a:extLst>
          </p:cNvPr>
          <p:cNvGraphicFramePr/>
          <p:nvPr>
            <p:extLst>
              <p:ext uri="{D42A27DB-BD31-4B8C-83A1-F6EECF244321}">
                <p14:modId xmlns:p14="http://schemas.microsoft.com/office/powerpoint/2010/main" val="998231677"/>
              </p:ext>
            </p:extLst>
          </p:nvPr>
        </p:nvGraphicFramePr>
        <p:xfrm>
          <a:off x="5688647" y="987111"/>
          <a:ext cx="6257972" cy="51804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2" name="Graphic 11" descr="Family with two children with solid fill">
            <a:extLst>
              <a:ext uri="{FF2B5EF4-FFF2-40B4-BE49-F238E27FC236}">
                <a16:creationId xmlns:a16="http://schemas.microsoft.com/office/drawing/2014/main" id="{BCA3BD38-32AF-BB62-B60A-0B353AD841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03527" y="976629"/>
            <a:ext cx="1430741" cy="1430741"/>
          </a:xfrm>
          <a:prstGeom prst="rect">
            <a:avLst/>
          </a:prstGeom>
        </p:spPr>
      </p:pic>
      <p:pic>
        <p:nvPicPr>
          <p:cNvPr id="14" name="Graphic 13" descr="Scales of justice with solid fill">
            <a:extLst>
              <a:ext uri="{FF2B5EF4-FFF2-40B4-BE49-F238E27FC236}">
                <a16:creationId xmlns:a16="http://schemas.microsoft.com/office/drawing/2014/main" id="{1A9DB930-03FD-29AF-B9F6-4CCD470BC9C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61697" y="4966971"/>
            <a:ext cx="914400" cy="914400"/>
          </a:xfrm>
          <a:prstGeom prst="rect">
            <a:avLst/>
          </a:prstGeom>
        </p:spPr>
      </p:pic>
      <p:pic>
        <p:nvPicPr>
          <p:cNvPr id="16" name="Graphic 15" descr="Bento Box with solid fill">
            <a:extLst>
              <a:ext uri="{FF2B5EF4-FFF2-40B4-BE49-F238E27FC236}">
                <a16:creationId xmlns:a16="http://schemas.microsoft.com/office/drawing/2014/main" id="{E87E9E66-9E8E-DCA9-72A1-7A7A575931D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761697" y="3120143"/>
            <a:ext cx="914400" cy="914400"/>
          </a:xfrm>
          <a:prstGeom prst="rect">
            <a:avLst/>
          </a:prstGeom>
        </p:spPr>
      </p:pic>
      <p:sp>
        <p:nvSpPr>
          <p:cNvPr id="17" name="Arrow: Down 16">
            <a:extLst>
              <a:ext uri="{FF2B5EF4-FFF2-40B4-BE49-F238E27FC236}">
                <a16:creationId xmlns:a16="http://schemas.microsoft.com/office/drawing/2014/main" id="{4E325684-BE17-3300-D690-242366F45360}"/>
              </a:ext>
            </a:extLst>
          </p:cNvPr>
          <p:cNvSpPr/>
          <p:nvPr/>
        </p:nvSpPr>
        <p:spPr>
          <a:xfrm>
            <a:off x="1992573" y="2407370"/>
            <a:ext cx="423081" cy="61662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Arrow: Down 17">
            <a:extLst>
              <a:ext uri="{FF2B5EF4-FFF2-40B4-BE49-F238E27FC236}">
                <a16:creationId xmlns:a16="http://schemas.microsoft.com/office/drawing/2014/main" id="{45F71A5D-89F7-5E40-65E4-87C186810978}"/>
              </a:ext>
            </a:extLst>
          </p:cNvPr>
          <p:cNvSpPr/>
          <p:nvPr/>
        </p:nvSpPr>
        <p:spPr>
          <a:xfrm>
            <a:off x="1992573" y="4144370"/>
            <a:ext cx="423081" cy="61662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a:extLst>
              <a:ext uri="{FF2B5EF4-FFF2-40B4-BE49-F238E27FC236}">
                <a16:creationId xmlns:a16="http://schemas.microsoft.com/office/drawing/2014/main" id="{F6D592DE-022D-2715-FB66-9A8C5EC14B4B}"/>
              </a:ext>
            </a:extLst>
          </p:cNvPr>
          <p:cNvSpPr txBox="1"/>
          <p:nvPr/>
        </p:nvSpPr>
        <p:spPr>
          <a:xfrm>
            <a:off x="2904700" y="2353721"/>
            <a:ext cx="1965277" cy="923330"/>
          </a:xfrm>
          <a:prstGeom prst="rect">
            <a:avLst/>
          </a:prstGeom>
          <a:noFill/>
        </p:spPr>
        <p:txBody>
          <a:bodyPr wrap="square" rtlCol="0">
            <a:spAutoFit/>
          </a:bodyPr>
          <a:lstStyle/>
          <a:p>
            <a:pPr algn="ctr"/>
            <a:r>
              <a:rPr lang="mn-MN" dirty="0"/>
              <a:t>Өрхүүд хүнсний хаягдлаа 8 хувааж ялгав</a:t>
            </a:r>
            <a:endParaRPr lang="en-GB" dirty="0"/>
          </a:p>
        </p:txBody>
      </p:sp>
      <p:sp>
        <p:nvSpPr>
          <p:cNvPr id="20" name="TextBox 19">
            <a:extLst>
              <a:ext uri="{FF2B5EF4-FFF2-40B4-BE49-F238E27FC236}">
                <a16:creationId xmlns:a16="http://schemas.microsoft.com/office/drawing/2014/main" id="{828BD4BD-BDAF-A724-E09B-DA0B28DFFEFB}"/>
              </a:ext>
            </a:extLst>
          </p:cNvPr>
          <p:cNvSpPr txBox="1"/>
          <p:nvPr/>
        </p:nvSpPr>
        <p:spPr>
          <a:xfrm>
            <a:off x="2823950" y="4043641"/>
            <a:ext cx="1965277" cy="1200329"/>
          </a:xfrm>
          <a:prstGeom prst="rect">
            <a:avLst/>
          </a:prstGeom>
          <a:noFill/>
        </p:spPr>
        <p:txBody>
          <a:bodyPr wrap="square" rtlCol="0">
            <a:spAutoFit/>
          </a:bodyPr>
          <a:lstStyle/>
          <a:p>
            <a:pPr algn="ctr"/>
            <a:r>
              <a:rPr lang="mn-MN" dirty="0"/>
              <a:t>Ялгасан хаягдлыг цуглуулан авч, жигнэж хэмжлээ</a:t>
            </a:r>
            <a:endParaRPr lang="en-GB" dirty="0"/>
          </a:p>
        </p:txBody>
      </p:sp>
    </p:spTree>
    <p:extLst>
      <p:ext uri="{BB962C8B-B14F-4D97-AF65-F5344CB8AC3E}">
        <p14:creationId xmlns:p14="http://schemas.microsoft.com/office/powerpoint/2010/main" val="774902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CDEFBA-934D-99F5-D607-C9E0409160C3}"/>
              </a:ext>
            </a:extLst>
          </p:cNvPr>
          <p:cNvSpPr>
            <a:spLocks noGrp="1"/>
          </p:cNvSpPr>
          <p:nvPr>
            <p:ph type="title"/>
          </p:nvPr>
        </p:nvSpPr>
        <p:spPr/>
        <p:txBody>
          <a:bodyPr/>
          <a:lstStyle/>
          <a:p>
            <a:r>
              <a:rPr lang="mn-MN" dirty="0"/>
              <a:t>ӨРХИЙН ХҮНСНИЙ ХАЯГДАЛ </a:t>
            </a:r>
            <a:r>
              <a:rPr lang="en-GB" dirty="0"/>
              <a:t>- </a:t>
            </a:r>
            <a:r>
              <a:rPr lang="mn-MN" dirty="0"/>
              <a:t>ХЭМЖЭЭ</a:t>
            </a:r>
            <a:endParaRPr lang="en-GB" dirty="0"/>
          </a:p>
        </p:txBody>
      </p:sp>
      <p:sp>
        <p:nvSpPr>
          <p:cNvPr id="4" name="Slide Number Placeholder 3">
            <a:extLst>
              <a:ext uri="{FF2B5EF4-FFF2-40B4-BE49-F238E27FC236}">
                <a16:creationId xmlns:a16="http://schemas.microsoft.com/office/drawing/2014/main" id="{5A7D4312-C531-CE1A-2D20-5C9CBD2BC890}"/>
              </a:ext>
            </a:extLst>
          </p:cNvPr>
          <p:cNvSpPr>
            <a:spLocks noGrp="1"/>
          </p:cNvSpPr>
          <p:nvPr>
            <p:ph type="sldNum" sz="quarter" idx="12"/>
          </p:nvPr>
        </p:nvSpPr>
        <p:spPr/>
        <p:txBody>
          <a:bodyPr/>
          <a:lstStyle/>
          <a:p>
            <a:fld id="{22BD14A0-459B-CA46-A763-3163F186A6C2}" type="slidenum">
              <a:rPr lang="en-US" smtClean="0"/>
              <a:t>23</a:t>
            </a:fld>
            <a:endParaRPr lang="en-US"/>
          </a:p>
        </p:txBody>
      </p:sp>
      <p:sp>
        <p:nvSpPr>
          <p:cNvPr id="9" name="Gráfico 52">
            <a:extLst>
              <a:ext uri="{FF2B5EF4-FFF2-40B4-BE49-F238E27FC236}">
                <a16:creationId xmlns:a16="http://schemas.microsoft.com/office/drawing/2014/main" id="{DF57C529-B3A8-D280-3835-EE6EBB9DFD0C}"/>
              </a:ext>
            </a:extLst>
          </p:cNvPr>
          <p:cNvSpPr/>
          <p:nvPr/>
        </p:nvSpPr>
        <p:spPr>
          <a:xfrm>
            <a:off x="9117727" y="2576302"/>
            <a:ext cx="729487" cy="650746"/>
          </a:xfrm>
          <a:custGeom>
            <a:avLst/>
            <a:gdLst>
              <a:gd name="connsiteX0" fmla="*/ 571087 w 571086"/>
              <a:gd name="connsiteY0" fmla="*/ 178465 h 571086"/>
              <a:gd name="connsiteX1" fmla="*/ 571087 w 571086"/>
              <a:gd name="connsiteY1" fmla="*/ 107079 h 571086"/>
              <a:gd name="connsiteX2" fmla="*/ 285544 w 571086"/>
              <a:gd name="connsiteY2" fmla="*/ 0 h 571086"/>
              <a:gd name="connsiteX3" fmla="*/ 0 w 571086"/>
              <a:gd name="connsiteY3" fmla="*/ 107079 h 571086"/>
              <a:gd name="connsiteX4" fmla="*/ 0 w 571086"/>
              <a:gd name="connsiteY4" fmla="*/ 178464 h 571086"/>
              <a:gd name="connsiteX5" fmla="*/ 35693 w 571086"/>
              <a:gd name="connsiteY5" fmla="*/ 178464 h 571086"/>
              <a:gd name="connsiteX6" fmla="*/ 35693 w 571086"/>
              <a:gd name="connsiteY6" fmla="*/ 535394 h 571086"/>
              <a:gd name="connsiteX7" fmla="*/ 0 w 571086"/>
              <a:gd name="connsiteY7" fmla="*/ 535394 h 571086"/>
              <a:gd name="connsiteX8" fmla="*/ 0 w 571086"/>
              <a:gd name="connsiteY8" fmla="*/ 571087 h 571086"/>
              <a:gd name="connsiteX9" fmla="*/ 571087 w 571086"/>
              <a:gd name="connsiteY9" fmla="*/ 571087 h 571086"/>
              <a:gd name="connsiteX10" fmla="*/ 571087 w 571086"/>
              <a:gd name="connsiteY10" fmla="*/ 535394 h 571086"/>
              <a:gd name="connsiteX11" fmla="*/ 535394 w 571086"/>
              <a:gd name="connsiteY11" fmla="*/ 535394 h 571086"/>
              <a:gd name="connsiteX12" fmla="*/ 535394 w 571086"/>
              <a:gd name="connsiteY12" fmla="*/ 178465 h 571086"/>
              <a:gd name="connsiteX13" fmla="*/ 321236 w 571086"/>
              <a:gd name="connsiteY13" fmla="*/ 178465 h 571086"/>
              <a:gd name="connsiteX14" fmla="*/ 428315 w 571086"/>
              <a:gd name="connsiteY14" fmla="*/ 178465 h 571086"/>
              <a:gd name="connsiteX15" fmla="*/ 428315 w 571086"/>
              <a:gd name="connsiteY15" fmla="*/ 285544 h 571086"/>
              <a:gd name="connsiteX16" fmla="*/ 321236 w 571086"/>
              <a:gd name="connsiteY16" fmla="*/ 285544 h 571086"/>
              <a:gd name="connsiteX17" fmla="*/ 142772 w 571086"/>
              <a:gd name="connsiteY17" fmla="*/ 178465 h 571086"/>
              <a:gd name="connsiteX18" fmla="*/ 249851 w 571086"/>
              <a:gd name="connsiteY18" fmla="*/ 178465 h 571086"/>
              <a:gd name="connsiteX19" fmla="*/ 249851 w 571086"/>
              <a:gd name="connsiteY19" fmla="*/ 285544 h 571086"/>
              <a:gd name="connsiteX20" fmla="*/ 142772 w 571086"/>
              <a:gd name="connsiteY20" fmla="*/ 285544 h 571086"/>
              <a:gd name="connsiteX21" fmla="*/ 142772 w 571086"/>
              <a:gd name="connsiteY21" fmla="*/ 356930 h 571086"/>
              <a:gd name="connsiteX22" fmla="*/ 249851 w 571086"/>
              <a:gd name="connsiteY22" fmla="*/ 356930 h 571086"/>
              <a:gd name="connsiteX23" fmla="*/ 249851 w 571086"/>
              <a:gd name="connsiteY23" fmla="*/ 464008 h 571086"/>
              <a:gd name="connsiteX24" fmla="*/ 142772 w 571086"/>
              <a:gd name="connsiteY24" fmla="*/ 464008 h 571086"/>
              <a:gd name="connsiteX25" fmla="*/ 321236 w 571086"/>
              <a:gd name="connsiteY25" fmla="*/ 535395 h 571086"/>
              <a:gd name="connsiteX26" fmla="*/ 321236 w 571086"/>
              <a:gd name="connsiteY26" fmla="*/ 356930 h 571086"/>
              <a:gd name="connsiteX27" fmla="*/ 428315 w 571086"/>
              <a:gd name="connsiteY27" fmla="*/ 356930 h 571086"/>
              <a:gd name="connsiteX28" fmla="*/ 428315 w 571086"/>
              <a:gd name="connsiteY28" fmla="*/ 535395 h 57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71086" h="571086">
                <a:moveTo>
                  <a:pt x="571087" y="178465"/>
                </a:moveTo>
                <a:lnTo>
                  <a:pt x="571087" y="107079"/>
                </a:lnTo>
                <a:lnTo>
                  <a:pt x="285544" y="0"/>
                </a:lnTo>
                <a:lnTo>
                  <a:pt x="0" y="107079"/>
                </a:lnTo>
                <a:lnTo>
                  <a:pt x="0" y="178464"/>
                </a:lnTo>
                <a:lnTo>
                  <a:pt x="35693" y="178464"/>
                </a:lnTo>
                <a:lnTo>
                  <a:pt x="35693" y="535394"/>
                </a:lnTo>
                <a:lnTo>
                  <a:pt x="0" y="535394"/>
                </a:lnTo>
                <a:lnTo>
                  <a:pt x="0" y="571087"/>
                </a:lnTo>
                <a:lnTo>
                  <a:pt x="571087" y="571087"/>
                </a:lnTo>
                <a:lnTo>
                  <a:pt x="571087" y="535394"/>
                </a:lnTo>
                <a:lnTo>
                  <a:pt x="535394" y="535394"/>
                </a:lnTo>
                <a:lnTo>
                  <a:pt x="535394" y="178465"/>
                </a:lnTo>
                <a:close/>
                <a:moveTo>
                  <a:pt x="321236" y="178465"/>
                </a:moveTo>
                <a:lnTo>
                  <a:pt x="428315" y="178465"/>
                </a:lnTo>
                <a:lnTo>
                  <a:pt x="428315" y="285544"/>
                </a:lnTo>
                <a:lnTo>
                  <a:pt x="321236" y="285544"/>
                </a:lnTo>
                <a:close/>
                <a:moveTo>
                  <a:pt x="142772" y="178465"/>
                </a:moveTo>
                <a:lnTo>
                  <a:pt x="249851" y="178465"/>
                </a:lnTo>
                <a:lnTo>
                  <a:pt x="249851" y="285544"/>
                </a:lnTo>
                <a:lnTo>
                  <a:pt x="142772" y="285544"/>
                </a:lnTo>
                <a:close/>
                <a:moveTo>
                  <a:pt x="142772" y="356930"/>
                </a:moveTo>
                <a:lnTo>
                  <a:pt x="249851" y="356930"/>
                </a:lnTo>
                <a:lnTo>
                  <a:pt x="249851" y="464008"/>
                </a:lnTo>
                <a:lnTo>
                  <a:pt x="142772" y="464008"/>
                </a:lnTo>
                <a:close/>
                <a:moveTo>
                  <a:pt x="321236" y="535395"/>
                </a:moveTo>
                <a:lnTo>
                  <a:pt x="321236" y="356930"/>
                </a:lnTo>
                <a:lnTo>
                  <a:pt x="428315" y="356930"/>
                </a:lnTo>
                <a:lnTo>
                  <a:pt x="428315" y="535395"/>
                </a:lnTo>
                <a:close/>
              </a:path>
            </a:pathLst>
          </a:custGeom>
          <a:solidFill>
            <a:schemeClr val="accent2">
              <a:lumMod val="75000"/>
            </a:schemeClr>
          </a:solidFill>
          <a:ln w="1072" cap="flat">
            <a:noFill/>
            <a:prstDash val="solid"/>
            <a:miter/>
          </a:ln>
        </p:spPr>
        <p:txBody>
          <a:bodyPr rtlCol="0" anchor="ctr"/>
          <a:lstStyle/>
          <a:p>
            <a:endParaRPr lang="es-MX"/>
          </a:p>
        </p:txBody>
      </p:sp>
      <p:sp>
        <p:nvSpPr>
          <p:cNvPr id="10" name="TextBox 9">
            <a:extLst>
              <a:ext uri="{FF2B5EF4-FFF2-40B4-BE49-F238E27FC236}">
                <a16:creationId xmlns:a16="http://schemas.microsoft.com/office/drawing/2014/main" id="{D2128829-37C4-83E5-E68C-D1A6969CFE51}"/>
              </a:ext>
            </a:extLst>
          </p:cNvPr>
          <p:cNvSpPr txBox="1"/>
          <p:nvPr/>
        </p:nvSpPr>
        <p:spPr>
          <a:xfrm>
            <a:off x="8784352" y="1791836"/>
            <a:ext cx="2898051" cy="380372"/>
          </a:xfrm>
          <a:prstGeom prst="rect">
            <a:avLst/>
          </a:prstGeom>
          <a:noFill/>
        </p:spPr>
        <p:txBody>
          <a:bodyPr wrap="square" rtlCol="0">
            <a:spAutoFit/>
          </a:bodyPr>
          <a:lstStyle/>
          <a:p>
            <a:pPr algn="ctr"/>
            <a:r>
              <a:rPr lang="mn-MN" b="1" dirty="0">
                <a:solidFill>
                  <a:schemeClr val="accent2">
                    <a:lumMod val="75000"/>
                  </a:schemeClr>
                </a:solidFill>
              </a:rPr>
              <a:t>ЖИЛ БҮР</a:t>
            </a:r>
            <a:endParaRPr lang="en-GB" b="1" dirty="0">
              <a:solidFill>
                <a:schemeClr val="accent2">
                  <a:lumMod val="75000"/>
                </a:schemeClr>
              </a:solidFill>
            </a:endParaRPr>
          </a:p>
        </p:txBody>
      </p:sp>
      <p:sp>
        <p:nvSpPr>
          <p:cNvPr id="11" name="TextBox 10">
            <a:extLst>
              <a:ext uri="{FF2B5EF4-FFF2-40B4-BE49-F238E27FC236}">
                <a16:creationId xmlns:a16="http://schemas.microsoft.com/office/drawing/2014/main" id="{055F64E9-B86B-BCF3-AB81-24FC42A6DFC3}"/>
              </a:ext>
            </a:extLst>
          </p:cNvPr>
          <p:cNvSpPr txBox="1"/>
          <p:nvPr/>
        </p:nvSpPr>
        <p:spPr>
          <a:xfrm>
            <a:off x="9644776" y="2711489"/>
            <a:ext cx="2074471" cy="380372"/>
          </a:xfrm>
          <a:prstGeom prst="rect">
            <a:avLst/>
          </a:prstGeom>
          <a:noFill/>
        </p:spPr>
        <p:txBody>
          <a:bodyPr wrap="square" rtlCol="0">
            <a:spAutoFit/>
          </a:bodyPr>
          <a:lstStyle/>
          <a:p>
            <a:pPr algn="ctr"/>
            <a:r>
              <a:rPr lang="en-GB" dirty="0">
                <a:solidFill>
                  <a:schemeClr val="accent2">
                    <a:lumMod val="75000"/>
                  </a:schemeClr>
                </a:solidFill>
              </a:rPr>
              <a:t>290 </a:t>
            </a:r>
            <a:r>
              <a:rPr lang="mn-MN" dirty="0">
                <a:solidFill>
                  <a:schemeClr val="accent2">
                    <a:lumMod val="75000"/>
                  </a:schemeClr>
                </a:solidFill>
              </a:rPr>
              <a:t>кг</a:t>
            </a:r>
            <a:endParaRPr lang="en-GB" dirty="0">
              <a:solidFill>
                <a:schemeClr val="accent2">
                  <a:lumMod val="75000"/>
                </a:schemeClr>
              </a:solidFill>
            </a:endParaRPr>
          </a:p>
        </p:txBody>
      </p:sp>
      <p:pic>
        <p:nvPicPr>
          <p:cNvPr id="13" name="Graphic 12" descr="Man with solid fill">
            <a:extLst>
              <a:ext uri="{FF2B5EF4-FFF2-40B4-BE49-F238E27FC236}">
                <a16:creationId xmlns:a16="http://schemas.microsoft.com/office/drawing/2014/main" id="{4C2D4E1E-9D45-3891-82DD-B10ADA0856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25270" y="3744500"/>
            <a:ext cx="914400" cy="914400"/>
          </a:xfrm>
          <a:prstGeom prst="rect">
            <a:avLst/>
          </a:prstGeom>
        </p:spPr>
      </p:pic>
      <p:sp>
        <p:nvSpPr>
          <p:cNvPr id="14" name="TextBox 13">
            <a:extLst>
              <a:ext uri="{FF2B5EF4-FFF2-40B4-BE49-F238E27FC236}">
                <a16:creationId xmlns:a16="http://schemas.microsoft.com/office/drawing/2014/main" id="{D383A655-F0C8-1AB8-1C0D-1929C4F7C680}"/>
              </a:ext>
            </a:extLst>
          </p:cNvPr>
          <p:cNvSpPr txBox="1"/>
          <p:nvPr/>
        </p:nvSpPr>
        <p:spPr>
          <a:xfrm>
            <a:off x="9607932" y="4011514"/>
            <a:ext cx="2074471" cy="380372"/>
          </a:xfrm>
          <a:prstGeom prst="rect">
            <a:avLst/>
          </a:prstGeom>
          <a:noFill/>
        </p:spPr>
        <p:txBody>
          <a:bodyPr wrap="square" rtlCol="0">
            <a:spAutoFit/>
          </a:bodyPr>
          <a:lstStyle/>
          <a:p>
            <a:pPr algn="ctr"/>
            <a:r>
              <a:rPr lang="en-GB" dirty="0">
                <a:solidFill>
                  <a:schemeClr val="accent2">
                    <a:lumMod val="75000"/>
                  </a:schemeClr>
                </a:solidFill>
              </a:rPr>
              <a:t>72 </a:t>
            </a:r>
            <a:r>
              <a:rPr lang="mn-MN" dirty="0">
                <a:solidFill>
                  <a:schemeClr val="accent2">
                    <a:lumMod val="75000"/>
                  </a:schemeClr>
                </a:solidFill>
              </a:rPr>
              <a:t>кг</a:t>
            </a:r>
            <a:endParaRPr lang="en-GB" dirty="0">
              <a:solidFill>
                <a:schemeClr val="accent2">
                  <a:lumMod val="75000"/>
                </a:schemeClr>
              </a:solidFill>
            </a:endParaRPr>
          </a:p>
        </p:txBody>
      </p:sp>
      <p:sp>
        <p:nvSpPr>
          <p:cNvPr id="15" name="TextBox 14">
            <a:extLst>
              <a:ext uri="{FF2B5EF4-FFF2-40B4-BE49-F238E27FC236}">
                <a16:creationId xmlns:a16="http://schemas.microsoft.com/office/drawing/2014/main" id="{E37EB029-7816-0496-DBB4-5768E589128D}"/>
              </a:ext>
            </a:extLst>
          </p:cNvPr>
          <p:cNvSpPr txBox="1"/>
          <p:nvPr/>
        </p:nvSpPr>
        <p:spPr>
          <a:xfrm>
            <a:off x="8591551" y="5010149"/>
            <a:ext cx="2568450" cy="646331"/>
          </a:xfrm>
          <a:prstGeom prst="rect">
            <a:avLst/>
          </a:prstGeom>
          <a:noFill/>
        </p:spPr>
        <p:txBody>
          <a:bodyPr wrap="square" rtlCol="0">
            <a:spAutoFit/>
          </a:bodyPr>
          <a:lstStyle/>
          <a:p>
            <a:pPr algn="ctr"/>
            <a:r>
              <a:rPr lang="mn-MN" dirty="0">
                <a:solidFill>
                  <a:schemeClr val="accent2">
                    <a:lumMod val="75000"/>
                  </a:schemeClr>
                </a:solidFill>
              </a:rPr>
              <a:t>Дундач монгол хүний жин</a:t>
            </a:r>
            <a:r>
              <a:rPr lang="en-GB" dirty="0">
                <a:solidFill>
                  <a:schemeClr val="accent2">
                    <a:lumMod val="75000"/>
                  </a:schemeClr>
                </a:solidFill>
              </a:rPr>
              <a:t> 71</a:t>
            </a:r>
            <a:r>
              <a:rPr lang="mn-MN" dirty="0">
                <a:solidFill>
                  <a:schemeClr val="accent2">
                    <a:lumMod val="75000"/>
                  </a:schemeClr>
                </a:solidFill>
              </a:rPr>
              <a:t> кг</a:t>
            </a:r>
            <a:r>
              <a:rPr lang="en-GB" dirty="0">
                <a:solidFill>
                  <a:schemeClr val="accent2">
                    <a:lumMod val="75000"/>
                  </a:schemeClr>
                </a:solidFill>
              </a:rPr>
              <a:t>!</a:t>
            </a:r>
          </a:p>
        </p:txBody>
      </p:sp>
      <p:pic>
        <p:nvPicPr>
          <p:cNvPr id="8" name="Picture 7">
            <a:extLst>
              <a:ext uri="{FF2B5EF4-FFF2-40B4-BE49-F238E27FC236}">
                <a16:creationId xmlns:a16="http://schemas.microsoft.com/office/drawing/2014/main" id="{60F82831-4299-4A8A-BDE3-93892E7CC4B7}"/>
              </a:ext>
            </a:extLst>
          </p:cNvPr>
          <p:cNvPicPr>
            <a:picLocks noChangeAspect="1"/>
          </p:cNvPicPr>
          <p:nvPr/>
        </p:nvPicPr>
        <p:blipFill>
          <a:blip r:embed="rId5"/>
          <a:stretch>
            <a:fillRect/>
          </a:stretch>
        </p:blipFill>
        <p:spPr>
          <a:xfrm>
            <a:off x="816098" y="1827672"/>
            <a:ext cx="7235537" cy="3505642"/>
          </a:xfrm>
          <a:prstGeom prst="rect">
            <a:avLst/>
          </a:prstGeom>
        </p:spPr>
      </p:pic>
    </p:spTree>
    <p:extLst>
      <p:ext uri="{BB962C8B-B14F-4D97-AF65-F5344CB8AC3E}">
        <p14:creationId xmlns:p14="http://schemas.microsoft.com/office/powerpoint/2010/main" val="1114351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7A5CCE-E57F-3BC1-548E-CC4C8DE5448D}"/>
              </a:ext>
            </a:extLst>
          </p:cNvPr>
          <p:cNvSpPr>
            <a:spLocks noGrp="1"/>
          </p:cNvSpPr>
          <p:nvPr>
            <p:ph type="title"/>
          </p:nvPr>
        </p:nvSpPr>
        <p:spPr/>
        <p:txBody>
          <a:bodyPr/>
          <a:lstStyle/>
          <a:p>
            <a:r>
              <a:rPr lang="mn-MN" dirty="0"/>
              <a:t>ӨРХИЙН ХҮНСНИЙ ХАЯГДАЛ </a:t>
            </a:r>
            <a:r>
              <a:rPr lang="en-GB" dirty="0"/>
              <a:t>- </a:t>
            </a:r>
            <a:r>
              <a:rPr lang="mn-MN" dirty="0"/>
              <a:t>ТӨРЛҮҮД</a:t>
            </a:r>
            <a:endParaRPr lang="en-GB" dirty="0"/>
          </a:p>
        </p:txBody>
      </p:sp>
      <p:sp>
        <p:nvSpPr>
          <p:cNvPr id="4" name="Slide Number Placeholder 3">
            <a:extLst>
              <a:ext uri="{FF2B5EF4-FFF2-40B4-BE49-F238E27FC236}">
                <a16:creationId xmlns:a16="http://schemas.microsoft.com/office/drawing/2014/main" id="{E15461EA-3D00-9308-0C25-2F2A05B5951E}"/>
              </a:ext>
            </a:extLst>
          </p:cNvPr>
          <p:cNvSpPr>
            <a:spLocks noGrp="1"/>
          </p:cNvSpPr>
          <p:nvPr>
            <p:ph type="sldNum" sz="quarter" idx="12"/>
          </p:nvPr>
        </p:nvSpPr>
        <p:spPr/>
        <p:txBody>
          <a:bodyPr/>
          <a:lstStyle/>
          <a:p>
            <a:fld id="{22BD14A0-459B-CA46-A763-3163F186A6C2}" type="slidenum">
              <a:rPr lang="en-US" smtClean="0"/>
              <a:t>24</a:t>
            </a:fld>
            <a:endParaRPr lang="en-US"/>
          </a:p>
        </p:txBody>
      </p:sp>
      <p:pic>
        <p:nvPicPr>
          <p:cNvPr id="7" name="Picture 6" descr="P305C3T8#yIS1">
            <a:extLst>
              <a:ext uri="{FF2B5EF4-FFF2-40B4-BE49-F238E27FC236}">
                <a16:creationId xmlns:a16="http://schemas.microsoft.com/office/drawing/2014/main" id="{AE2772E8-7CAC-D2F3-C3EF-11C906E7C02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1018431" y="1614898"/>
            <a:ext cx="665941" cy="665941"/>
          </a:xfrm>
          <a:prstGeom prst="rect">
            <a:avLst/>
          </a:prstGeom>
        </p:spPr>
      </p:pic>
      <p:pic>
        <p:nvPicPr>
          <p:cNvPr id="8" name="Content Placeholder 7" descr="P301C2T8#yIS1">
            <a:extLst>
              <a:ext uri="{FF2B5EF4-FFF2-40B4-BE49-F238E27FC236}">
                <a16:creationId xmlns:a16="http://schemas.microsoft.com/office/drawing/2014/main" id="{428944A7-D70F-4DB3-948B-908C0BE7EE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37027" y="1549744"/>
            <a:ext cx="796248" cy="796248"/>
          </a:xfrm>
          <a:prstGeom prst="rect">
            <a:avLst/>
          </a:prstGeom>
        </p:spPr>
      </p:pic>
      <p:sp>
        <p:nvSpPr>
          <p:cNvPr id="9" name="TextBox 8">
            <a:extLst>
              <a:ext uri="{FF2B5EF4-FFF2-40B4-BE49-F238E27FC236}">
                <a16:creationId xmlns:a16="http://schemas.microsoft.com/office/drawing/2014/main" id="{929F1DB6-2126-72E9-54B0-77DDD7E38159}"/>
              </a:ext>
            </a:extLst>
          </p:cNvPr>
          <p:cNvSpPr txBox="1"/>
          <p:nvPr/>
        </p:nvSpPr>
        <p:spPr>
          <a:xfrm>
            <a:off x="10228853" y="1763202"/>
            <a:ext cx="594000" cy="369332"/>
          </a:xfrm>
          <a:prstGeom prst="rect">
            <a:avLst/>
          </a:prstGeom>
          <a:noFill/>
        </p:spPr>
        <p:txBody>
          <a:bodyPr wrap="square" rtlCol="0">
            <a:spAutoFit/>
          </a:bodyPr>
          <a:lstStyle/>
          <a:p>
            <a:pPr algn="ctr"/>
            <a:r>
              <a:rPr lang="en-GB" dirty="0">
                <a:solidFill>
                  <a:schemeClr val="tx1">
                    <a:lumMod val="75000"/>
                    <a:lumOff val="25000"/>
                  </a:schemeClr>
                </a:solidFill>
              </a:rPr>
              <a:t>=</a:t>
            </a:r>
          </a:p>
        </p:txBody>
      </p:sp>
      <p:sp>
        <p:nvSpPr>
          <p:cNvPr id="10" name="TextBox 9">
            <a:extLst>
              <a:ext uri="{FF2B5EF4-FFF2-40B4-BE49-F238E27FC236}">
                <a16:creationId xmlns:a16="http://schemas.microsoft.com/office/drawing/2014/main" id="{9B6B7A49-B307-2B90-95D3-25A9ACA40D55}"/>
              </a:ext>
            </a:extLst>
          </p:cNvPr>
          <p:cNvSpPr txBox="1"/>
          <p:nvPr/>
        </p:nvSpPr>
        <p:spPr>
          <a:xfrm>
            <a:off x="9099821" y="2493281"/>
            <a:ext cx="2852064" cy="1323439"/>
          </a:xfrm>
          <a:prstGeom prst="rect">
            <a:avLst/>
          </a:prstGeom>
          <a:noFill/>
        </p:spPr>
        <p:txBody>
          <a:bodyPr wrap="square" rtlCol="0">
            <a:spAutoFit/>
          </a:bodyPr>
          <a:lstStyle/>
          <a:p>
            <a:pPr algn="ctr"/>
            <a:r>
              <a:rPr lang="mn-MN" sz="2000" dirty="0">
                <a:solidFill>
                  <a:schemeClr val="tx1">
                    <a:lumMod val="75000"/>
                    <a:lumOff val="25000"/>
                  </a:schemeClr>
                </a:solidFill>
              </a:rPr>
              <a:t>Орон сууцны ба гэр хорооллын хаягдлын төрлүүд ижил төстэй байна</a:t>
            </a:r>
            <a:endParaRPr lang="en-GB" sz="2000" dirty="0">
              <a:solidFill>
                <a:schemeClr val="tx1">
                  <a:lumMod val="75000"/>
                  <a:lumOff val="25000"/>
                </a:schemeClr>
              </a:solidFill>
            </a:endParaRPr>
          </a:p>
        </p:txBody>
      </p:sp>
      <p:sp>
        <p:nvSpPr>
          <p:cNvPr id="11" name="TextBox 10">
            <a:extLst>
              <a:ext uri="{FF2B5EF4-FFF2-40B4-BE49-F238E27FC236}">
                <a16:creationId xmlns:a16="http://schemas.microsoft.com/office/drawing/2014/main" id="{A03F261F-4708-BC16-FEED-F54F2321ECCB}"/>
              </a:ext>
            </a:extLst>
          </p:cNvPr>
          <p:cNvSpPr txBox="1"/>
          <p:nvPr/>
        </p:nvSpPr>
        <p:spPr>
          <a:xfrm>
            <a:off x="9086355" y="3737861"/>
            <a:ext cx="2598018" cy="1446550"/>
          </a:xfrm>
          <a:prstGeom prst="rect">
            <a:avLst/>
          </a:prstGeom>
          <a:noFill/>
        </p:spPr>
        <p:txBody>
          <a:bodyPr wrap="square" rtlCol="0">
            <a:spAutoFit/>
          </a:bodyPr>
          <a:lstStyle/>
          <a:p>
            <a:pPr algn="ctr"/>
            <a:r>
              <a:rPr lang="en-GB" sz="4800" b="1" dirty="0">
                <a:solidFill>
                  <a:schemeClr val="accent5">
                    <a:lumMod val="50000"/>
                  </a:schemeClr>
                </a:solidFill>
              </a:rPr>
              <a:t>62%</a:t>
            </a:r>
          </a:p>
          <a:p>
            <a:pPr algn="ctr"/>
            <a:r>
              <a:rPr lang="mn-MN" sz="2000" dirty="0">
                <a:solidFill>
                  <a:schemeClr val="tx1">
                    <a:lumMod val="75000"/>
                    <a:lumOff val="25000"/>
                  </a:schemeClr>
                </a:solidFill>
              </a:rPr>
              <a:t>Зайлхийх чадахгүй байгаа хаягдал</a:t>
            </a:r>
            <a:endParaRPr lang="en-GB" sz="2000" dirty="0">
              <a:solidFill>
                <a:schemeClr val="tx1">
                  <a:lumMod val="75000"/>
                  <a:lumOff val="25000"/>
                </a:schemeClr>
              </a:solidFill>
            </a:endParaRPr>
          </a:p>
        </p:txBody>
      </p:sp>
      <p:sp>
        <p:nvSpPr>
          <p:cNvPr id="12" name="TextBox 11">
            <a:extLst>
              <a:ext uri="{FF2B5EF4-FFF2-40B4-BE49-F238E27FC236}">
                <a16:creationId xmlns:a16="http://schemas.microsoft.com/office/drawing/2014/main" id="{46A96A90-2504-8C96-0E6B-FE0C4E1C4BDF}"/>
              </a:ext>
            </a:extLst>
          </p:cNvPr>
          <p:cNvSpPr txBox="1"/>
          <p:nvPr/>
        </p:nvSpPr>
        <p:spPr>
          <a:xfrm>
            <a:off x="9474156" y="5184411"/>
            <a:ext cx="2091645" cy="646331"/>
          </a:xfrm>
          <a:prstGeom prst="rect">
            <a:avLst/>
          </a:prstGeom>
          <a:noFill/>
        </p:spPr>
        <p:txBody>
          <a:bodyPr wrap="square" rtlCol="0">
            <a:spAutoFit/>
          </a:bodyPr>
          <a:lstStyle/>
          <a:p>
            <a:r>
              <a:rPr lang="en-GB" dirty="0">
                <a:solidFill>
                  <a:schemeClr val="tx1">
                    <a:lumMod val="75000"/>
                    <a:lumOff val="25000"/>
                  </a:schemeClr>
                </a:solidFill>
              </a:rPr>
              <a:t>(38% </a:t>
            </a:r>
            <a:r>
              <a:rPr lang="mn-MN" dirty="0">
                <a:solidFill>
                  <a:schemeClr val="tx1">
                    <a:lumMod val="75000"/>
                    <a:lumOff val="25000"/>
                  </a:schemeClr>
                </a:solidFill>
              </a:rPr>
              <a:t>зайлсхийж болох хаягдал</a:t>
            </a:r>
            <a:r>
              <a:rPr lang="en-GB" dirty="0">
                <a:solidFill>
                  <a:schemeClr val="tx1">
                    <a:lumMod val="75000"/>
                    <a:lumOff val="25000"/>
                  </a:schemeClr>
                </a:solidFill>
              </a:rPr>
              <a:t>)</a:t>
            </a:r>
          </a:p>
        </p:txBody>
      </p:sp>
      <p:pic>
        <p:nvPicPr>
          <p:cNvPr id="14" name="Picture 13">
            <a:extLst>
              <a:ext uri="{FF2B5EF4-FFF2-40B4-BE49-F238E27FC236}">
                <a16:creationId xmlns:a16="http://schemas.microsoft.com/office/drawing/2014/main" id="{EA57B901-05A6-4317-97B2-D530A349D550}"/>
              </a:ext>
            </a:extLst>
          </p:cNvPr>
          <p:cNvPicPr>
            <a:picLocks noChangeAspect="1"/>
          </p:cNvPicPr>
          <p:nvPr/>
        </p:nvPicPr>
        <p:blipFill>
          <a:blip r:embed="rId5"/>
          <a:stretch>
            <a:fillRect/>
          </a:stretch>
        </p:blipFill>
        <p:spPr>
          <a:xfrm>
            <a:off x="547937" y="1453389"/>
            <a:ext cx="8350480" cy="4209474"/>
          </a:xfrm>
          <a:prstGeom prst="rect">
            <a:avLst/>
          </a:prstGeom>
        </p:spPr>
      </p:pic>
    </p:spTree>
    <p:extLst>
      <p:ext uri="{BB962C8B-B14F-4D97-AF65-F5344CB8AC3E}">
        <p14:creationId xmlns:p14="http://schemas.microsoft.com/office/powerpoint/2010/main" val="36528275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92C2E-654C-ADCD-E184-66A9A9A63A1C}"/>
              </a:ext>
            </a:extLst>
          </p:cNvPr>
          <p:cNvSpPr>
            <a:spLocks noGrp="1"/>
          </p:cNvSpPr>
          <p:nvPr>
            <p:ph type="title"/>
          </p:nvPr>
        </p:nvSpPr>
        <p:spPr>
          <a:xfrm>
            <a:off x="360000" y="374565"/>
            <a:ext cx="10800000" cy="1332000"/>
          </a:xfrm>
        </p:spPr>
        <p:txBody>
          <a:bodyPr/>
          <a:lstStyle/>
          <a:p>
            <a:r>
              <a:rPr lang="mn-MN" dirty="0"/>
              <a:t>ӨРХИЙН ХҮНСНИЙ ХАЯГДАЛ </a:t>
            </a:r>
            <a:r>
              <a:rPr lang="en-GB" dirty="0"/>
              <a:t>– </a:t>
            </a:r>
            <a:r>
              <a:rPr lang="mn-MN" dirty="0"/>
              <a:t>ӨРХИЙН ОРЛОГО</a:t>
            </a:r>
            <a:endParaRPr lang="en-GB" dirty="0"/>
          </a:p>
        </p:txBody>
      </p:sp>
      <p:sp>
        <p:nvSpPr>
          <p:cNvPr id="4" name="Slide Number Placeholder 3">
            <a:extLst>
              <a:ext uri="{FF2B5EF4-FFF2-40B4-BE49-F238E27FC236}">
                <a16:creationId xmlns:a16="http://schemas.microsoft.com/office/drawing/2014/main" id="{5AE33AB9-B929-DC0C-51C8-496A9881AF80}"/>
              </a:ext>
            </a:extLst>
          </p:cNvPr>
          <p:cNvSpPr>
            <a:spLocks noGrp="1"/>
          </p:cNvSpPr>
          <p:nvPr>
            <p:ph type="sldNum" sz="quarter" idx="12"/>
          </p:nvPr>
        </p:nvSpPr>
        <p:spPr/>
        <p:txBody>
          <a:bodyPr/>
          <a:lstStyle/>
          <a:p>
            <a:fld id="{22BD14A0-459B-CA46-A763-3163F186A6C2}" type="slidenum">
              <a:rPr lang="en-US" smtClean="0"/>
              <a:t>25</a:t>
            </a:fld>
            <a:endParaRPr lang="en-US"/>
          </a:p>
        </p:txBody>
      </p:sp>
      <p:sp>
        <p:nvSpPr>
          <p:cNvPr id="9" name="TextBox 8">
            <a:extLst>
              <a:ext uri="{FF2B5EF4-FFF2-40B4-BE49-F238E27FC236}">
                <a16:creationId xmlns:a16="http://schemas.microsoft.com/office/drawing/2014/main" id="{72409796-E92E-6737-620D-3EB75B975838}"/>
              </a:ext>
            </a:extLst>
          </p:cNvPr>
          <p:cNvSpPr txBox="1"/>
          <p:nvPr/>
        </p:nvSpPr>
        <p:spPr>
          <a:xfrm>
            <a:off x="2657474" y="5537049"/>
            <a:ext cx="3438526" cy="307777"/>
          </a:xfrm>
          <a:prstGeom prst="rect">
            <a:avLst/>
          </a:prstGeom>
          <a:noFill/>
        </p:spPr>
        <p:txBody>
          <a:bodyPr wrap="square">
            <a:spAutoFit/>
          </a:bodyPr>
          <a:lstStyle/>
          <a:p>
            <a:pPr algn="ctr"/>
            <a:r>
              <a:rPr lang="mn-MN" sz="1400" dirty="0">
                <a:latin typeface="Calibri" panose="020F0502020204030204" pitchFamily="34" charset="0"/>
                <a:cs typeface="Calibri" panose="020F0502020204030204" pitchFamily="34" charset="0"/>
              </a:rPr>
              <a:t>Өрхийн орлого </a:t>
            </a:r>
            <a:r>
              <a:rPr lang="en-GB" sz="1400" dirty="0">
                <a:latin typeface="Calibri" panose="020F0502020204030204" pitchFamily="34" charset="0"/>
                <a:cs typeface="Calibri" panose="020F0502020204030204" pitchFamily="34" charset="0"/>
              </a:rPr>
              <a:t>(</a:t>
            </a:r>
            <a:r>
              <a:rPr lang="mn-MN" sz="1400" dirty="0">
                <a:latin typeface="Calibri" panose="020F0502020204030204" pitchFamily="34" charset="0"/>
                <a:cs typeface="Calibri" panose="020F0502020204030204" pitchFamily="34" charset="0"/>
              </a:rPr>
              <a:t>төг</a:t>
            </a:r>
            <a:r>
              <a:rPr lang="en-GB" sz="1400" dirty="0">
                <a:latin typeface="Calibri" panose="020F0502020204030204" pitchFamily="34" charset="0"/>
                <a:cs typeface="Calibri" panose="020F0502020204030204" pitchFamily="34" charset="0"/>
              </a:rPr>
              <a:t>/</a:t>
            </a:r>
            <a:r>
              <a:rPr lang="mn-MN" sz="1400" dirty="0">
                <a:latin typeface="Calibri" panose="020F0502020204030204" pitchFamily="34" charset="0"/>
                <a:cs typeface="Calibri" panose="020F0502020204030204" pitchFamily="34" charset="0"/>
              </a:rPr>
              <a:t>өрх</a:t>
            </a:r>
            <a:r>
              <a:rPr lang="en-GB" sz="1400" dirty="0">
                <a:latin typeface="Calibri" panose="020F0502020204030204" pitchFamily="34" charset="0"/>
                <a:cs typeface="Calibri" panose="020F0502020204030204" pitchFamily="34" charset="0"/>
              </a:rPr>
              <a:t>/</a:t>
            </a:r>
            <a:r>
              <a:rPr lang="mn-MN" sz="1400" dirty="0">
                <a:latin typeface="Calibri" panose="020F0502020204030204" pitchFamily="34" charset="0"/>
                <a:cs typeface="Calibri" panose="020F0502020204030204" pitchFamily="34" charset="0"/>
              </a:rPr>
              <a:t>сард</a:t>
            </a:r>
            <a:r>
              <a:rPr lang="en-GB" sz="1400" dirty="0">
                <a:latin typeface="Calibri" panose="020F0502020204030204" pitchFamily="34" charset="0"/>
                <a:cs typeface="Calibri" panose="020F0502020204030204" pitchFamily="34" charset="0"/>
              </a:rPr>
              <a:t>)</a:t>
            </a:r>
          </a:p>
        </p:txBody>
      </p:sp>
      <p:sp>
        <p:nvSpPr>
          <p:cNvPr id="10" name="TextBox 9">
            <a:extLst>
              <a:ext uri="{FF2B5EF4-FFF2-40B4-BE49-F238E27FC236}">
                <a16:creationId xmlns:a16="http://schemas.microsoft.com/office/drawing/2014/main" id="{CC084667-A0D7-AEC5-08E5-8BC32FC89FEC}"/>
              </a:ext>
            </a:extLst>
          </p:cNvPr>
          <p:cNvSpPr txBox="1"/>
          <p:nvPr/>
        </p:nvSpPr>
        <p:spPr>
          <a:xfrm>
            <a:off x="8734817" y="2098202"/>
            <a:ext cx="3097183" cy="2113399"/>
          </a:xfrm>
          <a:prstGeom prst="rect">
            <a:avLst/>
          </a:prstGeom>
          <a:noFill/>
        </p:spPr>
        <p:txBody>
          <a:bodyPr wrap="square" rtlCol="0">
            <a:spAutoFit/>
          </a:bodyPr>
          <a:lstStyle/>
          <a:p>
            <a:pPr algn="ctr">
              <a:lnSpc>
                <a:spcPct val="150000"/>
              </a:lnSpc>
            </a:pPr>
            <a:r>
              <a:rPr lang="mn-MN" dirty="0">
                <a:solidFill>
                  <a:schemeClr val="accent2">
                    <a:lumMod val="75000"/>
                  </a:schemeClr>
                </a:solidFill>
              </a:rPr>
              <a:t>Түүнчлэн:</a:t>
            </a:r>
          </a:p>
          <a:p>
            <a:pPr algn="ctr">
              <a:lnSpc>
                <a:spcPct val="150000"/>
              </a:lnSpc>
            </a:pPr>
            <a:r>
              <a:rPr lang="mn-MN" dirty="0">
                <a:solidFill>
                  <a:schemeClr val="accent2">
                    <a:lumMod val="75000"/>
                  </a:schemeClr>
                </a:solidFill>
              </a:rPr>
              <a:t>Өрхийн орлогын хэмжээнээс хамаарах хүнсний хаягдлын төрлийн хувьд ялгаа бага байна </a:t>
            </a:r>
            <a:endParaRPr lang="en-GB" dirty="0">
              <a:solidFill>
                <a:schemeClr val="accent2">
                  <a:lumMod val="75000"/>
                </a:schemeClr>
              </a:solidFill>
            </a:endParaRPr>
          </a:p>
        </p:txBody>
      </p:sp>
      <p:pic>
        <p:nvPicPr>
          <p:cNvPr id="8" name="Picture 7">
            <a:extLst>
              <a:ext uri="{FF2B5EF4-FFF2-40B4-BE49-F238E27FC236}">
                <a16:creationId xmlns:a16="http://schemas.microsoft.com/office/drawing/2014/main" id="{5E9E8096-1A13-4683-8833-9ED73DB0DBAF}"/>
              </a:ext>
            </a:extLst>
          </p:cNvPr>
          <p:cNvPicPr>
            <a:picLocks noChangeAspect="1"/>
          </p:cNvPicPr>
          <p:nvPr/>
        </p:nvPicPr>
        <p:blipFill>
          <a:blip r:embed="rId3"/>
          <a:stretch>
            <a:fillRect/>
          </a:stretch>
        </p:blipFill>
        <p:spPr>
          <a:xfrm>
            <a:off x="360000" y="1148812"/>
            <a:ext cx="8144623" cy="4388237"/>
          </a:xfrm>
          <a:prstGeom prst="rect">
            <a:avLst/>
          </a:prstGeom>
        </p:spPr>
      </p:pic>
    </p:spTree>
    <p:extLst>
      <p:ext uri="{BB962C8B-B14F-4D97-AF65-F5344CB8AC3E}">
        <p14:creationId xmlns:p14="http://schemas.microsoft.com/office/powerpoint/2010/main" val="2066875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F6084D-694A-EDB1-56CA-6139CFCA4B96}"/>
              </a:ext>
            </a:extLst>
          </p:cNvPr>
          <p:cNvSpPr>
            <a:spLocks noGrp="1"/>
          </p:cNvSpPr>
          <p:nvPr>
            <p:ph type="title"/>
          </p:nvPr>
        </p:nvSpPr>
        <p:spPr>
          <a:xfrm>
            <a:off x="360000" y="360000"/>
            <a:ext cx="11355750" cy="1332000"/>
          </a:xfrm>
        </p:spPr>
        <p:txBody>
          <a:bodyPr/>
          <a:lstStyle/>
          <a:p>
            <a:r>
              <a:rPr lang="mn-MN" dirty="0"/>
              <a:t>ӨРХИЙН ХҮНСНИЙ ХАЯГДАЛ </a:t>
            </a:r>
            <a:r>
              <a:rPr lang="en-GB" dirty="0"/>
              <a:t>– </a:t>
            </a:r>
            <a:r>
              <a:rPr lang="mn-MN" dirty="0"/>
              <a:t>УЛИРЛЫН ЯЛГААТАЙ БАЙДАЛ</a:t>
            </a:r>
            <a:endParaRPr lang="en-GB" dirty="0"/>
          </a:p>
        </p:txBody>
      </p:sp>
      <p:sp>
        <p:nvSpPr>
          <p:cNvPr id="4" name="Slide Number Placeholder 3">
            <a:extLst>
              <a:ext uri="{FF2B5EF4-FFF2-40B4-BE49-F238E27FC236}">
                <a16:creationId xmlns:a16="http://schemas.microsoft.com/office/drawing/2014/main" id="{39154AF5-F734-B7BD-6694-A443783C973E}"/>
              </a:ext>
            </a:extLst>
          </p:cNvPr>
          <p:cNvSpPr>
            <a:spLocks noGrp="1"/>
          </p:cNvSpPr>
          <p:nvPr>
            <p:ph type="sldNum" sz="quarter" idx="12"/>
          </p:nvPr>
        </p:nvSpPr>
        <p:spPr/>
        <p:txBody>
          <a:bodyPr/>
          <a:lstStyle/>
          <a:p>
            <a:fld id="{22BD14A0-459B-CA46-A763-3163F186A6C2}" type="slidenum">
              <a:rPr lang="en-US" smtClean="0"/>
              <a:t>26</a:t>
            </a:fld>
            <a:endParaRPr lang="en-US"/>
          </a:p>
        </p:txBody>
      </p:sp>
      <p:sp>
        <p:nvSpPr>
          <p:cNvPr id="7" name="TextBox 6">
            <a:extLst>
              <a:ext uri="{FF2B5EF4-FFF2-40B4-BE49-F238E27FC236}">
                <a16:creationId xmlns:a16="http://schemas.microsoft.com/office/drawing/2014/main" id="{97FA50E1-BF9F-9E69-0683-794DAE8C529D}"/>
              </a:ext>
            </a:extLst>
          </p:cNvPr>
          <p:cNvSpPr txBox="1"/>
          <p:nvPr/>
        </p:nvSpPr>
        <p:spPr>
          <a:xfrm>
            <a:off x="9237068" y="2469923"/>
            <a:ext cx="2478681" cy="1697901"/>
          </a:xfrm>
          <a:prstGeom prst="rect">
            <a:avLst/>
          </a:prstGeom>
          <a:noFill/>
        </p:spPr>
        <p:txBody>
          <a:bodyPr wrap="square" rtlCol="0">
            <a:spAutoFit/>
          </a:bodyPr>
          <a:lstStyle/>
          <a:p>
            <a:pPr algn="ctr">
              <a:lnSpc>
                <a:spcPct val="150000"/>
              </a:lnSpc>
            </a:pPr>
            <a:r>
              <a:rPr lang="mn-MN" dirty="0">
                <a:solidFill>
                  <a:schemeClr val="accent2">
                    <a:lumMod val="75000"/>
                  </a:schemeClr>
                </a:solidFill>
              </a:rPr>
              <a:t>Наадам, цагаан сарын үед хүнсний хаягдлын хэмжээ ихсэнэ</a:t>
            </a:r>
            <a:endParaRPr lang="en-GB" dirty="0">
              <a:solidFill>
                <a:schemeClr val="accent2">
                  <a:lumMod val="75000"/>
                </a:schemeClr>
              </a:solidFill>
            </a:endParaRPr>
          </a:p>
        </p:txBody>
      </p:sp>
      <p:pic>
        <p:nvPicPr>
          <p:cNvPr id="9" name="Picture 8">
            <a:extLst>
              <a:ext uri="{FF2B5EF4-FFF2-40B4-BE49-F238E27FC236}">
                <a16:creationId xmlns:a16="http://schemas.microsoft.com/office/drawing/2014/main" id="{2E951582-2949-4DFE-89C1-775E6368D3A7}"/>
              </a:ext>
            </a:extLst>
          </p:cNvPr>
          <p:cNvPicPr>
            <a:picLocks noChangeAspect="1"/>
          </p:cNvPicPr>
          <p:nvPr/>
        </p:nvPicPr>
        <p:blipFill>
          <a:blip r:embed="rId2"/>
          <a:stretch>
            <a:fillRect/>
          </a:stretch>
        </p:blipFill>
        <p:spPr>
          <a:xfrm>
            <a:off x="476251" y="1692000"/>
            <a:ext cx="8422090" cy="3685218"/>
          </a:xfrm>
          <a:prstGeom prst="rect">
            <a:avLst/>
          </a:prstGeom>
        </p:spPr>
      </p:pic>
    </p:spTree>
    <p:extLst>
      <p:ext uri="{BB962C8B-B14F-4D97-AF65-F5344CB8AC3E}">
        <p14:creationId xmlns:p14="http://schemas.microsoft.com/office/powerpoint/2010/main" val="11295862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F3420-9914-EB01-A86F-88E88813259B}"/>
              </a:ext>
            </a:extLst>
          </p:cNvPr>
          <p:cNvSpPr>
            <a:spLocks noGrp="1"/>
          </p:cNvSpPr>
          <p:nvPr>
            <p:ph type="title"/>
          </p:nvPr>
        </p:nvSpPr>
        <p:spPr>
          <a:xfrm>
            <a:off x="359999" y="360000"/>
            <a:ext cx="11512693" cy="973500"/>
          </a:xfrm>
        </p:spPr>
        <p:txBody>
          <a:bodyPr>
            <a:normAutofit fontScale="90000"/>
          </a:bodyPr>
          <a:lstStyle/>
          <a:p>
            <a:r>
              <a:rPr lang="mn-MN" dirty="0"/>
              <a:t>БҮТЦИЙН СУДАЛГАА </a:t>
            </a:r>
            <a:r>
              <a:rPr lang="en-GB" dirty="0"/>
              <a:t>– </a:t>
            </a:r>
            <a:r>
              <a:rPr lang="mn-MN" dirty="0"/>
              <a:t>ХҮНСНИЙ ҮЙЛЧИЛГЭЭНИЙ БАЙГУУЛЛАГУУД</a:t>
            </a:r>
            <a:endParaRPr lang="en-GB" dirty="0"/>
          </a:p>
        </p:txBody>
      </p:sp>
      <p:sp>
        <p:nvSpPr>
          <p:cNvPr id="3" name="Slide Number Placeholder 2">
            <a:extLst>
              <a:ext uri="{FF2B5EF4-FFF2-40B4-BE49-F238E27FC236}">
                <a16:creationId xmlns:a16="http://schemas.microsoft.com/office/drawing/2014/main" id="{9CF640D1-309B-8C84-DAAE-2B8E4535FD7E}"/>
              </a:ext>
            </a:extLst>
          </p:cNvPr>
          <p:cNvSpPr>
            <a:spLocks noGrp="1"/>
          </p:cNvSpPr>
          <p:nvPr>
            <p:ph type="sldNum" sz="quarter" idx="12"/>
          </p:nvPr>
        </p:nvSpPr>
        <p:spPr/>
        <p:txBody>
          <a:bodyPr/>
          <a:lstStyle/>
          <a:p>
            <a:fld id="{22BD14A0-459B-CA46-A763-3163F186A6C2}" type="slidenum">
              <a:rPr lang="en-US" smtClean="0"/>
              <a:t>27</a:t>
            </a:fld>
            <a:endParaRPr lang="en-US"/>
          </a:p>
        </p:txBody>
      </p:sp>
      <p:pic>
        <p:nvPicPr>
          <p:cNvPr id="5" name="Picture 4">
            <a:extLst>
              <a:ext uri="{FF2B5EF4-FFF2-40B4-BE49-F238E27FC236}">
                <a16:creationId xmlns:a16="http://schemas.microsoft.com/office/drawing/2014/main" id="{458CD58D-7294-B2A8-BA21-415F8B93DC9B}"/>
              </a:ext>
            </a:extLst>
          </p:cNvPr>
          <p:cNvPicPr>
            <a:picLocks noChangeAspect="1"/>
          </p:cNvPicPr>
          <p:nvPr/>
        </p:nvPicPr>
        <p:blipFill>
          <a:blip r:embed="rId2"/>
          <a:stretch>
            <a:fillRect/>
          </a:stretch>
        </p:blipFill>
        <p:spPr>
          <a:xfrm>
            <a:off x="4760549" y="3486156"/>
            <a:ext cx="3365516" cy="2446918"/>
          </a:xfrm>
          <a:prstGeom prst="rect">
            <a:avLst/>
          </a:prstGeom>
        </p:spPr>
      </p:pic>
      <p:sp>
        <p:nvSpPr>
          <p:cNvPr id="6" name="TextBox 5">
            <a:extLst>
              <a:ext uri="{FF2B5EF4-FFF2-40B4-BE49-F238E27FC236}">
                <a16:creationId xmlns:a16="http://schemas.microsoft.com/office/drawing/2014/main" id="{08C60678-EAB0-D8DA-15EC-1DF678CF0890}"/>
              </a:ext>
            </a:extLst>
          </p:cNvPr>
          <p:cNvSpPr txBox="1"/>
          <p:nvPr/>
        </p:nvSpPr>
        <p:spPr>
          <a:xfrm>
            <a:off x="6267949" y="1316665"/>
            <a:ext cx="5297852" cy="1631216"/>
          </a:xfrm>
          <a:prstGeom prst="rect">
            <a:avLst/>
          </a:prstGeom>
          <a:noFill/>
        </p:spPr>
        <p:txBody>
          <a:bodyPr wrap="square" rtlCol="0">
            <a:spAutoFit/>
          </a:bodyPr>
          <a:lstStyle/>
          <a:p>
            <a:r>
              <a:rPr lang="mn-MN" sz="2000" dirty="0"/>
              <a:t>Дараахь хоёр төрлөөр хүнсний хаягдлыг цуглуулж хэмжив. Үүнд</a:t>
            </a:r>
            <a:r>
              <a:rPr lang="en-GB" sz="2000" dirty="0"/>
              <a:t>:</a:t>
            </a:r>
          </a:p>
          <a:p>
            <a:endParaRPr lang="en-GB" sz="2000" dirty="0"/>
          </a:p>
          <a:p>
            <a:pPr marL="285750" indent="-285750">
              <a:buFont typeface="Arial" panose="020B0604020202020204" pitchFamily="34" charset="0"/>
              <a:buChar char="•"/>
            </a:pPr>
            <a:r>
              <a:rPr lang="mn-MN" sz="2000" dirty="0"/>
              <a:t>Хүнс бэлтгэлийн үед гарах хаягдал</a:t>
            </a:r>
            <a:endParaRPr lang="en-GB" sz="2000" dirty="0"/>
          </a:p>
          <a:p>
            <a:pPr marL="285750" indent="-285750">
              <a:buFont typeface="Arial" panose="020B0604020202020204" pitchFamily="34" charset="0"/>
              <a:buChar char="•"/>
            </a:pPr>
            <a:r>
              <a:rPr lang="mn-MN" sz="2000" dirty="0"/>
              <a:t>Хоол, хүнсний үлдэгдэл</a:t>
            </a:r>
            <a:endParaRPr lang="en-GB" sz="2000" dirty="0"/>
          </a:p>
        </p:txBody>
      </p:sp>
      <p:pic>
        <p:nvPicPr>
          <p:cNvPr id="8" name="Picture 7">
            <a:extLst>
              <a:ext uri="{FF2B5EF4-FFF2-40B4-BE49-F238E27FC236}">
                <a16:creationId xmlns:a16="http://schemas.microsoft.com/office/drawing/2014/main" id="{D3E1B2CE-0E55-3187-96DB-2C964E9A46CE}"/>
              </a:ext>
            </a:extLst>
          </p:cNvPr>
          <p:cNvPicPr>
            <a:picLocks noChangeAspect="1"/>
          </p:cNvPicPr>
          <p:nvPr/>
        </p:nvPicPr>
        <p:blipFill>
          <a:blip r:embed="rId3"/>
          <a:stretch>
            <a:fillRect/>
          </a:stretch>
        </p:blipFill>
        <p:spPr>
          <a:xfrm>
            <a:off x="1069610" y="3525327"/>
            <a:ext cx="3202352" cy="2407747"/>
          </a:xfrm>
          <a:prstGeom prst="rect">
            <a:avLst/>
          </a:prstGeom>
        </p:spPr>
      </p:pic>
      <p:pic>
        <p:nvPicPr>
          <p:cNvPr id="10" name="Picture 9">
            <a:extLst>
              <a:ext uri="{FF2B5EF4-FFF2-40B4-BE49-F238E27FC236}">
                <a16:creationId xmlns:a16="http://schemas.microsoft.com/office/drawing/2014/main" id="{0FD044F4-D588-177A-A353-EEF3052FDC6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498"/>
          <a:stretch/>
        </p:blipFill>
        <p:spPr>
          <a:xfrm>
            <a:off x="8447630" y="3525327"/>
            <a:ext cx="3271617" cy="2407747"/>
          </a:xfrm>
          <a:prstGeom prst="rect">
            <a:avLst/>
          </a:prstGeom>
        </p:spPr>
      </p:pic>
      <p:sp>
        <p:nvSpPr>
          <p:cNvPr id="4" name="TextBox 3">
            <a:extLst>
              <a:ext uri="{FF2B5EF4-FFF2-40B4-BE49-F238E27FC236}">
                <a16:creationId xmlns:a16="http://schemas.microsoft.com/office/drawing/2014/main" id="{85262706-69A2-9F43-A4DF-2405B44430A8}"/>
              </a:ext>
            </a:extLst>
          </p:cNvPr>
          <p:cNvSpPr txBox="1"/>
          <p:nvPr/>
        </p:nvSpPr>
        <p:spPr>
          <a:xfrm>
            <a:off x="637953" y="1316665"/>
            <a:ext cx="5295014" cy="1754326"/>
          </a:xfrm>
          <a:prstGeom prst="rect">
            <a:avLst/>
          </a:prstGeom>
          <a:noFill/>
        </p:spPr>
        <p:txBody>
          <a:bodyPr wrap="square" rtlCol="0">
            <a:spAutoFit/>
          </a:bodyPr>
          <a:lstStyle/>
          <a:p>
            <a:pPr marL="285750" indent="-285750">
              <a:buFont typeface="Arial" panose="020B0604020202020204" pitchFamily="34" charset="0"/>
              <a:buChar char="•"/>
            </a:pPr>
            <a:r>
              <a:rPr lang="mn-MN" dirty="0"/>
              <a:t>Цайны газар, гуанз, түргэн хоол</a:t>
            </a:r>
            <a:endParaRPr lang="en-GB" dirty="0"/>
          </a:p>
          <a:p>
            <a:pPr marL="285750" indent="-285750">
              <a:buFont typeface="Arial" panose="020B0604020202020204" pitchFamily="34" charset="0"/>
              <a:buChar char="•"/>
            </a:pPr>
            <a:r>
              <a:rPr lang="mn-MN" dirty="0"/>
              <a:t>Цэцэрлэг, сургууль</a:t>
            </a:r>
            <a:endParaRPr lang="en-GB" dirty="0"/>
          </a:p>
          <a:p>
            <a:pPr marL="285750" indent="-285750">
              <a:buFont typeface="Arial" panose="020B0604020202020204" pitchFamily="34" charset="0"/>
              <a:buChar char="•"/>
            </a:pPr>
            <a:r>
              <a:rPr lang="mn-MN" dirty="0"/>
              <a:t>Баар, лоунж</a:t>
            </a:r>
            <a:endParaRPr lang="en-GB" dirty="0"/>
          </a:p>
          <a:p>
            <a:pPr marL="285750" indent="-285750">
              <a:buFont typeface="Arial" panose="020B0604020202020204" pitchFamily="34" charset="0"/>
              <a:buChar char="•"/>
            </a:pPr>
            <a:r>
              <a:rPr lang="mn-MN" dirty="0"/>
              <a:t>Ресторан</a:t>
            </a:r>
            <a:endParaRPr lang="en-GB" dirty="0"/>
          </a:p>
          <a:p>
            <a:pPr marL="285750" indent="-285750">
              <a:buFont typeface="Arial" panose="020B0604020202020204" pitchFamily="34" charset="0"/>
              <a:buChar char="•"/>
            </a:pPr>
            <a:r>
              <a:rPr lang="mn-MN" dirty="0"/>
              <a:t>Хүнсний дэлгүүр</a:t>
            </a:r>
            <a:endParaRPr lang="en-GB" dirty="0"/>
          </a:p>
          <a:p>
            <a:pPr marL="285750" indent="-285750">
              <a:buFont typeface="Arial" panose="020B0604020202020204" pitchFamily="34" charset="0"/>
              <a:buChar char="•"/>
            </a:pPr>
            <a:r>
              <a:rPr lang="mn-MN" dirty="0"/>
              <a:t>Мини-маркет</a:t>
            </a:r>
            <a:endParaRPr lang="en-GB" dirty="0"/>
          </a:p>
        </p:txBody>
      </p:sp>
    </p:spTree>
    <p:extLst>
      <p:ext uri="{BB962C8B-B14F-4D97-AF65-F5344CB8AC3E}">
        <p14:creationId xmlns:p14="http://schemas.microsoft.com/office/powerpoint/2010/main" val="10161284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6FBD6-4067-C08F-6BBE-3CA926E17DAF}"/>
              </a:ext>
            </a:extLst>
          </p:cNvPr>
          <p:cNvSpPr>
            <a:spLocks noGrp="1"/>
          </p:cNvSpPr>
          <p:nvPr>
            <p:ph type="title"/>
          </p:nvPr>
        </p:nvSpPr>
        <p:spPr/>
        <p:txBody>
          <a:bodyPr/>
          <a:lstStyle/>
          <a:p>
            <a:r>
              <a:rPr lang="mn-MN" dirty="0"/>
              <a:t>ХҮНСНИЙ ҮЙЛДВЭРЛЭЛ, ҮЙЛЧИЛГЭЭНИЙ БАЙГУУЛЛАГУУД</a:t>
            </a:r>
            <a:endParaRPr lang="en-GB" dirty="0"/>
          </a:p>
        </p:txBody>
      </p:sp>
      <p:sp>
        <p:nvSpPr>
          <p:cNvPr id="4" name="Slide Number Placeholder 3">
            <a:extLst>
              <a:ext uri="{FF2B5EF4-FFF2-40B4-BE49-F238E27FC236}">
                <a16:creationId xmlns:a16="http://schemas.microsoft.com/office/drawing/2014/main" id="{94B16B69-7580-0480-0331-287E096C6A96}"/>
              </a:ext>
            </a:extLst>
          </p:cNvPr>
          <p:cNvSpPr>
            <a:spLocks noGrp="1"/>
          </p:cNvSpPr>
          <p:nvPr>
            <p:ph type="sldNum" sz="quarter" idx="12"/>
          </p:nvPr>
        </p:nvSpPr>
        <p:spPr/>
        <p:txBody>
          <a:bodyPr/>
          <a:lstStyle/>
          <a:p>
            <a:fld id="{22BD14A0-459B-CA46-A763-3163F186A6C2}" type="slidenum">
              <a:rPr lang="en-US" smtClean="0"/>
              <a:t>28</a:t>
            </a:fld>
            <a:endParaRPr lang="en-US"/>
          </a:p>
        </p:txBody>
      </p:sp>
      <p:sp>
        <p:nvSpPr>
          <p:cNvPr id="20" name="TextBox 19">
            <a:extLst>
              <a:ext uri="{FF2B5EF4-FFF2-40B4-BE49-F238E27FC236}">
                <a16:creationId xmlns:a16="http://schemas.microsoft.com/office/drawing/2014/main" id="{E067BD35-51C6-BE9B-4C30-78B50EC695FE}"/>
              </a:ext>
            </a:extLst>
          </p:cNvPr>
          <p:cNvSpPr txBox="1"/>
          <p:nvPr/>
        </p:nvSpPr>
        <p:spPr>
          <a:xfrm>
            <a:off x="472753" y="1949024"/>
            <a:ext cx="2105025" cy="3385542"/>
          </a:xfrm>
          <a:prstGeom prst="rect">
            <a:avLst/>
          </a:prstGeom>
          <a:noFill/>
        </p:spPr>
        <p:txBody>
          <a:bodyPr wrap="square" rtlCol="0">
            <a:spAutoFit/>
          </a:bodyPr>
          <a:lstStyle/>
          <a:p>
            <a:pPr algn="ctr"/>
            <a:r>
              <a:rPr lang="en-GB" sz="4400" b="1" dirty="0">
                <a:solidFill>
                  <a:schemeClr val="accent4">
                    <a:lumMod val="75000"/>
                  </a:schemeClr>
                </a:solidFill>
              </a:rPr>
              <a:t>60%</a:t>
            </a:r>
          </a:p>
          <a:p>
            <a:pPr algn="ctr"/>
            <a:r>
              <a:rPr lang="mn-MN" dirty="0">
                <a:solidFill>
                  <a:schemeClr val="accent4">
                    <a:lumMod val="75000"/>
                  </a:schemeClr>
                </a:solidFill>
              </a:rPr>
              <a:t>Хүнс бэлгэлийн үед гарсан хаягдал</a:t>
            </a:r>
            <a:endParaRPr lang="en-GB" dirty="0">
              <a:solidFill>
                <a:schemeClr val="accent4">
                  <a:lumMod val="75000"/>
                </a:schemeClr>
              </a:solidFill>
            </a:endParaRPr>
          </a:p>
          <a:p>
            <a:pPr algn="ctr"/>
            <a:endParaRPr lang="en-GB" dirty="0">
              <a:solidFill>
                <a:schemeClr val="accent4">
                  <a:lumMod val="75000"/>
                </a:schemeClr>
              </a:solidFill>
            </a:endParaRPr>
          </a:p>
          <a:p>
            <a:pPr algn="ctr"/>
            <a:endParaRPr lang="en-GB" dirty="0">
              <a:solidFill>
                <a:schemeClr val="accent4">
                  <a:lumMod val="75000"/>
                </a:schemeClr>
              </a:solidFill>
            </a:endParaRPr>
          </a:p>
          <a:p>
            <a:pPr algn="ctr"/>
            <a:r>
              <a:rPr lang="en-GB" sz="4400" b="1" dirty="0">
                <a:solidFill>
                  <a:schemeClr val="accent4">
                    <a:lumMod val="75000"/>
                  </a:schemeClr>
                </a:solidFill>
              </a:rPr>
              <a:t>40%</a:t>
            </a:r>
          </a:p>
          <a:p>
            <a:pPr algn="ctr"/>
            <a:r>
              <a:rPr lang="mn-MN" dirty="0">
                <a:solidFill>
                  <a:schemeClr val="accent4">
                    <a:lumMod val="75000"/>
                  </a:schemeClr>
                </a:solidFill>
              </a:rPr>
              <a:t>Хүнс, хоолны үлдэгдэл</a:t>
            </a:r>
            <a:endParaRPr lang="en-GB" dirty="0">
              <a:solidFill>
                <a:schemeClr val="accent4">
                  <a:lumMod val="75000"/>
                </a:schemeClr>
              </a:solidFill>
            </a:endParaRPr>
          </a:p>
        </p:txBody>
      </p:sp>
      <p:pic>
        <p:nvPicPr>
          <p:cNvPr id="7" name="Picture 6">
            <a:extLst>
              <a:ext uri="{FF2B5EF4-FFF2-40B4-BE49-F238E27FC236}">
                <a16:creationId xmlns:a16="http://schemas.microsoft.com/office/drawing/2014/main" id="{330E856A-68DD-419B-BD5B-B5798A0218ED}"/>
              </a:ext>
            </a:extLst>
          </p:cNvPr>
          <p:cNvPicPr>
            <a:picLocks noChangeAspect="1"/>
          </p:cNvPicPr>
          <p:nvPr/>
        </p:nvPicPr>
        <p:blipFill>
          <a:blip r:embed="rId2"/>
          <a:stretch>
            <a:fillRect/>
          </a:stretch>
        </p:blipFill>
        <p:spPr>
          <a:xfrm>
            <a:off x="3250046" y="1565178"/>
            <a:ext cx="8469201" cy="4153234"/>
          </a:xfrm>
          <a:prstGeom prst="rect">
            <a:avLst/>
          </a:prstGeom>
        </p:spPr>
      </p:pic>
    </p:spTree>
    <p:extLst>
      <p:ext uri="{BB962C8B-B14F-4D97-AF65-F5344CB8AC3E}">
        <p14:creationId xmlns:p14="http://schemas.microsoft.com/office/powerpoint/2010/main" val="24292763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D0537-DC1F-BA75-CA0D-50BB53B7C8FB}"/>
              </a:ext>
            </a:extLst>
          </p:cNvPr>
          <p:cNvSpPr>
            <a:spLocks noGrp="1"/>
          </p:cNvSpPr>
          <p:nvPr>
            <p:ph type="title"/>
          </p:nvPr>
        </p:nvSpPr>
        <p:spPr/>
        <p:txBody>
          <a:bodyPr>
            <a:normAutofit fontScale="90000"/>
          </a:bodyPr>
          <a:lstStyle/>
          <a:p>
            <a:r>
              <a:rPr lang="mn-MN" dirty="0"/>
              <a:t>ХҮНСНИЙ ҮЙЛДВЭРЛЭЛ, ҮЙЛЧИЛГЭЭНИЙ БАЙГУУЛЛАГУУД </a:t>
            </a:r>
            <a:r>
              <a:rPr lang="en-GB" dirty="0"/>
              <a:t>– </a:t>
            </a:r>
            <a:r>
              <a:rPr lang="mn-MN" dirty="0"/>
              <a:t>ӨДӨРТ ХАЯГДАХ ХҮНСНИЙ ХАЯГДАЛ</a:t>
            </a:r>
            <a:endParaRPr lang="en-GB" dirty="0"/>
          </a:p>
        </p:txBody>
      </p:sp>
      <p:sp>
        <p:nvSpPr>
          <p:cNvPr id="4" name="Slide Number Placeholder 3">
            <a:extLst>
              <a:ext uri="{FF2B5EF4-FFF2-40B4-BE49-F238E27FC236}">
                <a16:creationId xmlns:a16="http://schemas.microsoft.com/office/drawing/2014/main" id="{BAED4244-C114-A45D-8336-2F6D3A7ACE3D}"/>
              </a:ext>
            </a:extLst>
          </p:cNvPr>
          <p:cNvSpPr>
            <a:spLocks noGrp="1"/>
          </p:cNvSpPr>
          <p:nvPr>
            <p:ph type="sldNum" sz="quarter" idx="12"/>
          </p:nvPr>
        </p:nvSpPr>
        <p:spPr/>
        <p:txBody>
          <a:bodyPr/>
          <a:lstStyle/>
          <a:p>
            <a:fld id="{22BD14A0-459B-CA46-A763-3163F186A6C2}" type="slidenum">
              <a:rPr lang="en-US" smtClean="0"/>
              <a:t>29</a:t>
            </a:fld>
            <a:endParaRPr lang="en-US"/>
          </a:p>
        </p:txBody>
      </p:sp>
      <p:sp>
        <p:nvSpPr>
          <p:cNvPr id="9" name="TextBox 8">
            <a:extLst>
              <a:ext uri="{FF2B5EF4-FFF2-40B4-BE49-F238E27FC236}">
                <a16:creationId xmlns:a16="http://schemas.microsoft.com/office/drawing/2014/main" id="{61A8F7B6-CECA-18AF-755F-3671D7F8A697}"/>
              </a:ext>
            </a:extLst>
          </p:cNvPr>
          <p:cNvSpPr txBox="1"/>
          <p:nvPr/>
        </p:nvSpPr>
        <p:spPr>
          <a:xfrm>
            <a:off x="8808839" y="1913108"/>
            <a:ext cx="3063854" cy="2528897"/>
          </a:xfrm>
          <a:prstGeom prst="rect">
            <a:avLst/>
          </a:prstGeom>
          <a:noFill/>
        </p:spPr>
        <p:txBody>
          <a:bodyPr wrap="square" rtlCol="0">
            <a:spAutoFit/>
          </a:bodyPr>
          <a:lstStyle/>
          <a:p>
            <a:pPr algn="ctr">
              <a:lnSpc>
                <a:spcPct val="150000"/>
              </a:lnSpc>
            </a:pPr>
            <a:r>
              <a:rPr lang="mn-MN" dirty="0">
                <a:solidFill>
                  <a:schemeClr val="accent2">
                    <a:lumMod val="75000"/>
                  </a:schemeClr>
                </a:solidFill>
              </a:rPr>
              <a:t>Цэцэрлэг, сургуулиас хүнсний хаягдал хамгийн ихээр гардаг бол цайны газар, гуанз, түргэн хоолны газрууд удаалж байна</a:t>
            </a:r>
            <a:endParaRPr lang="en-GB" dirty="0">
              <a:solidFill>
                <a:schemeClr val="accent2">
                  <a:lumMod val="75000"/>
                </a:schemeClr>
              </a:solidFill>
            </a:endParaRPr>
          </a:p>
        </p:txBody>
      </p:sp>
      <p:pic>
        <p:nvPicPr>
          <p:cNvPr id="8" name="Picture 7">
            <a:extLst>
              <a:ext uri="{FF2B5EF4-FFF2-40B4-BE49-F238E27FC236}">
                <a16:creationId xmlns:a16="http://schemas.microsoft.com/office/drawing/2014/main" id="{53C10448-188D-4559-90C1-DFD629208D77}"/>
              </a:ext>
            </a:extLst>
          </p:cNvPr>
          <p:cNvPicPr>
            <a:picLocks noChangeAspect="1"/>
          </p:cNvPicPr>
          <p:nvPr/>
        </p:nvPicPr>
        <p:blipFill>
          <a:blip r:embed="rId2"/>
          <a:stretch>
            <a:fillRect/>
          </a:stretch>
        </p:blipFill>
        <p:spPr>
          <a:xfrm>
            <a:off x="290121" y="1477174"/>
            <a:ext cx="8448839" cy="3966696"/>
          </a:xfrm>
          <a:prstGeom prst="rect">
            <a:avLst/>
          </a:prstGeom>
        </p:spPr>
      </p:pic>
    </p:spTree>
    <p:extLst>
      <p:ext uri="{BB962C8B-B14F-4D97-AF65-F5344CB8AC3E}">
        <p14:creationId xmlns:p14="http://schemas.microsoft.com/office/powerpoint/2010/main" val="2215373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C22F9-9FFD-4E92-99CF-A1C7B1328528}"/>
              </a:ext>
            </a:extLst>
          </p:cNvPr>
          <p:cNvSpPr>
            <a:spLocks noGrp="1"/>
          </p:cNvSpPr>
          <p:nvPr>
            <p:ph type="title"/>
          </p:nvPr>
        </p:nvSpPr>
        <p:spPr>
          <a:xfrm>
            <a:off x="360000" y="433336"/>
            <a:ext cx="10421840" cy="443423"/>
          </a:xfrm>
        </p:spPr>
        <p:txBody>
          <a:bodyPr>
            <a:normAutofit fontScale="90000"/>
          </a:bodyPr>
          <a:lstStyle/>
          <a:p>
            <a:r>
              <a:rPr lang="mn-MN" dirty="0"/>
              <a:t>УУЛЗАЛТЫН ЭХЛЭХЭЭС ӨМНӨ АНХААРАХ ЗҮЙЛС</a:t>
            </a:r>
            <a:endParaRPr lang="en-GB" dirty="0"/>
          </a:p>
        </p:txBody>
      </p:sp>
      <p:sp>
        <p:nvSpPr>
          <p:cNvPr id="3" name="Content Placeholder 2">
            <a:extLst>
              <a:ext uri="{FF2B5EF4-FFF2-40B4-BE49-F238E27FC236}">
                <a16:creationId xmlns:a16="http://schemas.microsoft.com/office/drawing/2014/main" id="{221B30BB-3830-41B0-9E70-F512D3180A41}"/>
              </a:ext>
            </a:extLst>
          </p:cNvPr>
          <p:cNvSpPr>
            <a:spLocks noGrp="1"/>
          </p:cNvSpPr>
          <p:nvPr>
            <p:ph sz="half" idx="1"/>
          </p:nvPr>
        </p:nvSpPr>
        <p:spPr>
          <a:xfrm>
            <a:off x="360000" y="1800000"/>
            <a:ext cx="5181600" cy="3604757"/>
          </a:xfrm>
        </p:spPr>
        <p:txBody>
          <a:bodyPr>
            <a:normAutofit/>
          </a:bodyPr>
          <a:lstStyle/>
          <a:p>
            <a:r>
              <a:rPr lang="mn-MN" dirty="0"/>
              <a:t>Галын гарц</a:t>
            </a:r>
            <a:endParaRPr lang="en-GB" dirty="0"/>
          </a:p>
          <a:p>
            <a:endParaRPr lang="en-GB" dirty="0"/>
          </a:p>
          <a:p>
            <a:endParaRPr lang="en-GB" dirty="0"/>
          </a:p>
          <a:p>
            <a:endParaRPr lang="en-GB" dirty="0"/>
          </a:p>
          <a:p>
            <a:endParaRPr lang="en-GB" dirty="0"/>
          </a:p>
          <a:p>
            <a:r>
              <a:rPr lang="mn-MN" dirty="0"/>
              <a:t>Тамхи бүү тат</a:t>
            </a:r>
            <a:endParaRPr lang="en-GB" dirty="0"/>
          </a:p>
        </p:txBody>
      </p:sp>
      <p:sp>
        <p:nvSpPr>
          <p:cNvPr id="19" name="Content Placeholder 18">
            <a:extLst>
              <a:ext uri="{FF2B5EF4-FFF2-40B4-BE49-F238E27FC236}">
                <a16:creationId xmlns:a16="http://schemas.microsoft.com/office/drawing/2014/main" id="{5ED46697-6E80-47E6-8B7C-E330D1C4365E}"/>
              </a:ext>
            </a:extLst>
          </p:cNvPr>
          <p:cNvSpPr>
            <a:spLocks noGrp="1"/>
          </p:cNvSpPr>
          <p:nvPr>
            <p:ph sz="half" idx="2"/>
          </p:nvPr>
        </p:nvSpPr>
        <p:spPr>
          <a:xfrm>
            <a:off x="5774562" y="1697843"/>
            <a:ext cx="4441389" cy="3343500"/>
          </a:xfrm>
        </p:spPr>
        <p:txBody>
          <a:bodyPr>
            <a:normAutofit/>
          </a:bodyPr>
          <a:lstStyle/>
          <a:p>
            <a:r>
              <a:rPr lang="mn-MN" dirty="0"/>
              <a:t>Асуулт асуугаарай</a:t>
            </a:r>
          </a:p>
          <a:p>
            <a:endParaRPr lang="mn-MN" dirty="0"/>
          </a:p>
          <a:p>
            <a:endParaRPr lang="mn-MN" dirty="0"/>
          </a:p>
          <a:p>
            <a:endParaRPr lang="en-GB" dirty="0"/>
          </a:p>
          <a:p>
            <a:endParaRPr lang="en-GB" dirty="0"/>
          </a:p>
          <a:p>
            <a:r>
              <a:rPr lang="mn-MN" dirty="0"/>
              <a:t>Чөлөөтэй, тав тухтай байгаарай</a:t>
            </a:r>
            <a:r>
              <a:rPr lang="en-GB" dirty="0"/>
              <a:t>!</a:t>
            </a:r>
          </a:p>
          <a:p>
            <a:endParaRPr lang="en-GB" dirty="0"/>
          </a:p>
          <a:p>
            <a:endParaRPr lang="en-GB" dirty="0"/>
          </a:p>
          <a:p>
            <a:endParaRPr lang="en-GB" dirty="0"/>
          </a:p>
        </p:txBody>
      </p:sp>
      <p:sp>
        <p:nvSpPr>
          <p:cNvPr id="4" name="Slide Number Placeholder 3">
            <a:extLst>
              <a:ext uri="{FF2B5EF4-FFF2-40B4-BE49-F238E27FC236}">
                <a16:creationId xmlns:a16="http://schemas.microsoft.com/office/drawing/2014/main" id="{966D69AD-6978-49C8-80AB-8EB8898F6FC4}"/>
              </a:ext>
            </a:extLst>
          </p:cNvPr>
          <p:cNvSpPr>
            <a:spLocks noGrp="1"/>
          </p:cNvSpPr>
          <p:nvPr>
            <p:ph type="sldNum" sz="quarter" idx="12"/>
          </p:nvPr>
        </p:nvSpPr>
        <p:spPr/>
        <p:txBody>
          <a:bodyPr/>
          <a:lstStyle/>
          <a:p>
            <a:fld id="{22BD14A0-459B-CA46-A763-3163F186A6C2}" type="slidenum">
              <a:rPr lang="en-US" smtClean="0"/>
              <a:t>3</a:t>
            </a:fld>
            <a:endParaRPr lang="en-US"/>
          </a:p>
        </p:txBody>
      </p:sp>
      <p:grpSp>
        <p:nvGrpSpPr>
          <p:cNvPr id="11" name="No_smoking2" descr="{&quot;Key&quot;:&quot;POWER_USER_SHAPE_ICON&quot;,&quot;Value&quot;:&quot;POWER_USER_SHAPE_ICON_STYLE_1&quot;}">
            <a:extLst>
              <a:ext uri="{FF2B5EF4-FFF2-40B4-BE49-F238E27FC236}">
                <a16:creationId xmlns:a16="http://schemas.microsoft.com/office/drawing/2014/main" id="{E2614BFD-F306-4D83-BC01-22AB508B3199}"/>
              </a:ext>
            </a:extLst>
          </p:cNvPr>
          <p:cNvGrpSpPr>
            <a:grpSpLocks noChangeAspect="1"/>
          </p:cNvGrpSpPr>
          <p:nvPr>
            <p:custDataLst>
              <p:tags r:id="rId1"/>
            </p:custDataLst>
          </p:nvPr>
        </p:nvGrpSpPr>
        <p:grpSpPr>
          <a:xfrm>
            <a:off x="3169840" y="3818118"/>
            <a:ext cx="1387929" cy="1387929"/>
            <a:chOff x="6624638" y="4519614"/>
            <a:chExt cx="287338" cy="287338"/>
          </a:xfrm>
          <a:solidFill>
            <a:schemeClr val="accent2"/>
          </a:solidFill>
        </p:grpSpPr>
        <p:sp>
          <p:nvSpPr>
            <p:cNvPr id="12" name="Freeform 324">
              <a:extLst>
                <a:ext uri="{FF2B5EF4-FFF2-40B4-BE49-F238E27FC236}">
                  <a16:creationId xmlns:a16="http://schemas.microsoft.com/office/drawing/2014/main" id="{E162C1A8-E635-475C-981E-F2EDFBE19FBD}"/>
                </a:ext>
              </a:extLst>
            </p:cNvPr>
            <p:cNvSpPr>
              <a:spLocks noEditPoints="1"/>
            </p:cNvSpPr>
            <p:nvPr/>
          </p:nvSpPr>
          <p:spPr bwMode="auto">
            <a:xfrm>
              <a:off x="6624638" y="4519614"/>
              <a:ext cx="287338" cy="287338"/>
            </a:xfrm>
            <a:custGeom>
              <a:avLst/>
              <a:gdLst>
                <a:gd name="T0" fmla="*/ 333 w 377"/>
                <a:gd name="T1" fmla="*/ 334 h 377"/>
                <a:gd name="T2" fmla="*/ 318 w 377"/>
                <a:gd name="T3" fmla="*/ 366 h 377"/>
                <a:gd name="T4" fmla="*/ 350 w 377"/>
                <a:gd name="T5" fmla="*/ 304 h 377"/>
                <a:gd name="T6" fmla="*/ 295 w 377"/>
                <a:gd name="T7" fmla="*/ 343 h 377"/>
                <a:gd name="T8" fmla="*/ 35 w 377"/>
                <a:gd name="T9" fmla="*/ 96 h 377"/>
                <a:gd name="T10" fmla="*/ 75 w 377"/>
                <a:gd name="T11" fmla="*/ 262 h 377"/>
                <a:gd name="T12" fmla="*/ 77 w 377"/>
                <a:gd name="T13" fmla="*/ 263 h 377"/>
                <a:gd name="T14" fmla="*/ 81 w 377"/>
                <a:gd name="T15" fmla="*/ 263 h 377"/>
                <a:gd name="T16" fmla="*/ 82 w 377"/>
                <a:gd name="T17" fmla="*/ 263 h 377"/>
                <a:gd name="T18" fmla="*/ 145 w 377"/>
                <a:gd name="T19" fmla="*/ 200 h 377"/>
                <a:gd name="T20" fmla="*/ 199 w 377"/>
                <a:gd name="T21" fmla="*/ 146 h 377"/>
                <a:gd name="T22" fmla="*/ 263 w 377"/>
                <a:gd name="T23" fmla="*/ 82 h 377"/>
                <a:gd name="T24" fmla="*/ 263 w 377"/>
                <a:gd name="T25" fmla="*/ 80 h 377"/>
                <a:gd name="T26" fmla="*/ 263 w 377"/>
                <a:gd name="T27" fmla="*/ 78 h 377"/>
                <a:gd name="T28" fmla="*/ 262 w 377"/>
                <a:gd name="T29" fmla="*/ 76 h 377"/>
                <a:gd name="T30" fmla="*/ 128 w 377"/>
                <a:gd name="T31" fmla="*/ 68 h 377"/>
                <a:gd name="T32" fmla="*/ 367 w 377"/>
                <a:gd name="T33" fmla="*/ 189 h 377"/>
                <a:gd name="T34" fmla="*/ 322 w 377"/>
                <a:gd name="T35" fmla="*/ 189 h 377"/>
                <a:gd name="T36" fmla="*/ 300 w 377"/>
                <a:gd name="T37" fmla="*/ 115 h 377"/>
                <a:gd name="T38" fmla="*/ 298 w 377"/>
                <a:gd name="T39" fmla="*/ 113 h 377"/>
                <a:gd name="T40" fmla="*/ 296 w 377"/>
                <a:gd name="T41" fmla="*/ 113 h 377"/>
                <a:gd name="T42" fmla="*/ 294 w 377"/>
                <a:gd name="T43" fmla="*/ 114 h 377"/>
                <a:gd name="T44" fmla="*/ 114 w 377"/>
                <a:gd name="T45" fmla="*/ 294 h 377"/>
                <a:gd name="T46" fmla="*/ 113 w 377"/>
                <a:gd name="T47" fmla="*/ 296 h 377"/>
                <a:gd name="T48" fmla="*/ 113 w 377"/>
                <a:gd name="T49" fmla="*/ 299 h 377"/>
                <a:gd name="T50" fmla="*/ 114 w 377"/>
                <a:gd name="T51" fmla="*/ 301 h 377"/>
                <a:gd name="T52" fmla="*/ 188 w 377"/>
                <a:gd name="T53" fmla="*/ 323 h 377"/>
                <a:gd name="T54" fmla="*/ 188 w 377"/>
                <a:gd name="T55" fmla="*/ 368 h 377"/>
                <a:gd name="T56" fmla="*/ 166 w 377"/>
                <a:gd name="T57" fmla="*/ 106 h 377"/>
                <a:gd name="T58" fmla="*/ 251 w 377"/>
                <a:gd name="T59" fmla="*/ 81 h 377"/>
                <a:gd name="T60" fmla="*/ 115 w 377"/>
                <a:gd name="T61" fmla="*/ 163 h 377"/>
                <a:gd name="T62" fmla="*/ 142 w 377"/>
                <a:gd name="T63" fmla="*/ 190 h 377"/>
                <a:gd name="T64" fmla="*/ 75 w 377"/>
                <a:gd name="T65" fmla="*/ 137 h 377"/>
                <a:gd name="T66" fmla="*/ 80 w 377"/>
                <a:gd name="T67" fmla="*/ 252 h 377"/>
                <a:gd name="T68" fmla="*/ 84 w 377"/>
                <a:gd name="T69" fmla="*/ 37 h 377"/>
                <a:gd name="T70" fmla="*/ 109 w 377"/>
                <a:gd name="T71" fmla="*/ 157 h 377"/>
                <a:gd name="T72" fmla="*/ 296 w 377"/>
                <a:gd name="T73" fmla="*/ 125 h 377"/>
                <a:gd name="T74" fmla="*/ 241 w 377"/>
                <a:gd name="T75" fmla="*/ 181 h 377"/>
                <a:gd name="T76" fmla="*/ 241 w 377"/>
                <a:gd name="T77" fmla="*/ 302 h 377"/>
                <a:gd name="T78" fmla="*/ 180 w 377"/>
                <a:gd name="T79" fmla="*/ 241 h 377"/>
                <a:gd name="T80" fmla="*/ 234 w 377"/>
                <a:gd name="T81" fmla="*/ 187 h 377"/>
                <a:gd name="T82" fmla="*/ 288 w 377"/>
                <a:gd name="T83" fmla="*/ 336 h 377"/>
                <a:gd name="T84" fmla="*/ 376 w 377"/>
                <a:gd name="T85" fmla="*/ 189 h 377"/>
                <a:gd name="T86" fmla="*/ 62 w 377"/>
                <a:gd name="T87" fmla="*/ 2 h 377"/>
                <a:gd name="T88" fmla="*/ 0 w 377"/>
                <a:gd name="T89" fmla="*/ 59 h 377"/>
                <a:gd name="T90" fmla="*/ 0 w 377"/>
                <a:gd name="T91" fmla="*/ 189 h 377"/>
                <a:gd name="T92" fmla="*/ 300 w 377"/>
                <a:gd name="T93" fmla="*/ 361 h 377"/>
                <a:gd name="T94" fmla="*/ 321 w 377"/>
                <a:gd name="T95" fmla="*/ 376 h 377"/>
                <a:gd name="T96" fmla="*/ 360 w 377"/>
                <a:gd name="T97" fmla="*/ 301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7" h="377">
                  <a:moveTo>
                    <a:pt x="318" y="366"/>
                  </a:moveTo>
                  <a:lnTo>
                    <a:pt x="310" y="358"/>
                  </a:lnTo>
                  <a:lnTo>
                    <a:pt x="333" y="334"/>
                  </a:lnTo>
                  <a:lnTo>
                    <a:pt x="357" y="311"/>
                  </a:lnTo>
                  <a:lnTo>
                    <a:pt x="365" y="318"/>
                  </a:lnTo>
                  <a:lnTo>
                    <a:pt x="318" y="366"/>
                  </a:lnTo>
                  <a:close/>
                  <a:moveTo>
                    <a:pt x="319" y="319"/>
                  </a:moveTo>
                  <a:lnTo>
                    <a:pt x="342" y="296"/>
                  </a:lnTo>
                  <a:lnTo>
                    <a:pt x="350" y="304"/>
                  </a:lnTo>
                  <a:lnTo>
                    <a:pt x="327" y="327"/>
                  </a:lnTo>
                  <a:lnTo>
                    <a:pt x="303" y="351"/>
                  </a:lnTo>
                  <a:lnTo>
                    <a:pt x="295" y="343"/>
                  </a:lnTo>
                  <a:lnTo>
                    <a:pt x="319" y="319"/>
                  </a:lnTo>
                  <a:close/>
                  <a:moveTo>
                    <a:pt x="9" y="189"/>
                  </a:moveTo>
                  <a:cubicBezTo>
                    <a:pt x="9" y="156"/>
                    <a:pt x="18" y="124"/>
                    <a:pt x="35" y="96"/>
                  </a:cubicBezTo>
                  <a:lnTo>
                    <a:pt x="68" y="130"/>
                  </a:lnTo>
                  <a:cubicBezTo>
                    <a:pt x="58" y="149"/>
                    <a:pt x="53" y="168"/>
                    <a:pt x="53" y="189"/>
                  </a:cubicBezTo>
                  <a:cubicBezTo>
                    <a:pt x="53" y="215"/>
                    <a:pt x="61" y="240"/>
                    <a:pt x="75" y="262"/>
                  </a:cubicBezTo>
                  <a:cubicBezTo>
                    <a:pt x="75" y="262"/>
                    <a:pt x="75" y="262"/>
                    <a:pt x="75" y="262"/>
                  </a:cubicBezTo>
                  <a:cubicBezTo>
                    <a:pt x="76" y="262"/>
                    <a:pt x="76" y="263"/>
                    <a:pt x="76" y="263"/>
                  </a:cubicBezTo>
                  <a:cubicBezTo>
                    <a:pt x="76" y="263"/>
                    <a:pt x="76" y="263"/>
                    <a:pt x="77" y="263"/>
                  </a:cubicBezTo>
                  <a:cubicBezTo>
                    <a:pt x="77" y="263"/>
                    <a:pt x="77" y="264"/>
                    <a:pt x="77" y="264"/>
                  </a:cubicBezTo>
                  <a:cubicBezTo>
                    <a:pt x="78" y="264"/>
                    <a:pt x="78" y="264"/>
                    <a:pt x="79" y="264"/>
                  </a:cubicBezTo>
                  <a:cubicBezTo>
                    <a:pt x="80" y="264"/>
                    <a:pt x="81" y="264"/>
                    <a:pt x="81" y="263"/>
                  </a:cubicBezTo>
                  <a:cubicBezTo>
                    <a:pt x="81" y="263"/>
                    <a:pt x="82" y="263"/>
                    <a:pt x="82" y="263"/>
                  </a:cubicBezTo>
                  <a:cubicBezTo>
                    <a:pt x="82" y="263"/>
                    <a:pt x="82" y="263"/>
                    <a:pt x="82" y="263"/>
                  </a:cubicBezTo>
                  <a:cubicBezTo>
                    <a:pt x="82" y="263"/>
                    <a:pt x="82" y="263"/>
                    <a:pt x="82" y="263"/>
                  </a:cubicBezTo>
                  <a:lnTo>
                    <a:pt x="145" y="200"/>
                  </a:lnTo>
                  <a:cubicBezTo>
                    <a:pt x="145" y="200"/>
                    <a:pt x="145" y="200"/>
                    <a:pt x="145" y="200"/>
                  </a:cubicBezTo>
                  <a:cubicBezTo>
                    <a:pt x="145" y="200"/>
                    <a:pt x="145" y="200"/>
                    <a:pt x="145" y="200"/>
                  </a:cubicBezTo>
                  <a:lnTo>
                    <a:pt x="199" y="146"/>
                  </a:lnTo>
                  <a:cubicBezTo>
                    <a:pt x="199" y="146"/>
                    <a:pt x="199" y="146"/>
                    <a:pt x="199" y="146"/>
                  </a:cubicBezTo>
                  <a:cubicBezTo>
                    <a:pt x="199" y="146"/>
                    <a:pt x="199" y="146"/>
                    <a:pt x="199" y="146"/>
                  </a:cubicBezTo>
                  <a:lnTo>
                    <a:pt x="262" y="83"/>
                  </a:lnTo>
                  <a:cubicBezTo>
                    <a:pt x="262" y="83"/>
                    <a:pt x="262" y="83"/>
                    <a:pt x="262" y="83"/>
                  </a:cubicBezTo>
                  <a:cubicBezTo>
                    <a:pt x="262" y="82"/>
                    <a:pt x="263" y="82"/>
                    <a:pt x="263" y="82"/>
                  </a:cubicBezTo>
                  <a:cubicBezTo>
                    <a:pt x="263" y="82"/>
                    <a:pt x="263" y="82"/>
                    <a:pt x="263" y="82"/>
                  </a:cubicBezTo>
                  <a:cubicBezTo>
                    <a:pt x="263" y="82"/>
                    <a:pt x="263" y="81"/>
                    <a:pt x="263" y="81"/>
                  </a:cubicBezTo>
                  <a:cubicBezTo>
                    <a:pt x="263" y="81"/>
                    <a:pt x="263" y="80"/>
                    <a:pt x="263" y="80"/>
                  </a:cubicBezTo>
                  <a:cubicBezTo>
                    <a:pt x="263" y="80"/>
                    <a:pt x="263" y="80"/>
                    <a:pt x="263" y="79"/>
                  </a:cubicBezTo>
                  <a:cubicBezTo>
                    <a:pt x="263" y="79"/>
                    <a:pt x="263" y="79"/>
                    <a:pt x="263" y="78"/>
                  </a:cubicBezTo>
                  <a:cubicBezTo>
                    <a:pt x="263" y="78"/>
                    <a:pt x="263" y="78"/>
                    <a:pt x="263" y="78"/>
                  </a:cubicBezTo>
                  <a:cubicBezTo>
                    <a:pt x="263" y="77"/>
                    <a:pt x="262" y="77"/>
                    <a:pt x="262" y="77"/>
                  </a:cubicBezTo>
                  <a:cubicBezTo>
                    <a:pt x="262" y="77"/>
                    <a:pt x="262" y="77"/>
                    <a:pt x="262" y="76"/>
                  </a:cubicBezTo>
                  <a:cubicBezTo>
                    <a:pt x="262" y="76"/>
                    <a:pt x="262" y="76"/>
                    <a:pt x="262" y="76"/>
                  </a:cubicBezTo>
                  <a:cubicBezTo>
                    <a:pt x="262" y="76"/>
                    <a:pt x="261" y="76"/>
                    <a:pt x="261" y="76"/>
                  </a:cubicBezTo>
                  <a:cubicBezTo>
                    <a:pt x="239" y="62"/>
                    <a:pt x="214" y="54"/>
                    <a:pt x="188" y="54"/>
                  </a:cubicBezTo>
                  <a:cubicBezTo>
                    <a:pt x="167" y="54"/>
                    <a:pt x="147" y="59"/>
                    <a:pt x="128" y="68"/>
                  </a:cubicBezTo>
                  <a:lnTo>
                    <a:pt x="95" y="36"/>
                  </a:lnTo>
                  <a:cubicBezTo>
                    <a:pt x="123" y="19"/>
                    <a:pt x="155" y="10"/>
                    <a:pt x="188" y="10"/>
                  </a:cubicBezTo>
                  <a:cubicBezTo>
                    <a:pt x="287" y="10"/>
                    <a:pt x="367" y="90"/>
                    <a:pt x="367" y="189"/>
                  </a:cubicBezTo>
                  <a:cubicBezTo>
                    <a:pt x="367" y="221"/>
                    <a:pt x="358" y="253"/>
                    <a:pt x="341" y="281"/>
                  </a:cubicBezTo>
                  <a:lnTo>
                    <a:pt x="308" y="248"/>
                  </a:lnTo>
                  <a:cubicBezTo>
                    <a:pt x="317" y="230"/>
                    <a:pt x="322" y="209"/>
                    <a:pt x="322" y="189"/>
                  </a:cubicBezTo>
                  <a:cubicBezTo>
                    <a:pt x="322" y="162"/>
                    <a:pt x="315" y="137"/>
                    <a:pt x="301" y="115"/>
                  </a:cubicBezTo>
                  <a:cubicBezTo>
                    <a:pt x="301" y="115"/>
                    <a:pt x="300" y="115"/>
                    <a:pt x="300" y="115"/>
                  </a:cubicBezTo>
                  <a:cubicBezTo>
                    <a:pt x="300" y="115"/>
                    <a:pt x="300" y="115"/>
                    <a:pt x="300" y="115"/>
                  </a:cubicBezTo>
                  <a:cubicBezTo>
                    <a:pt x="300" y="114"/>
                    <a:pt x="300" y="114"/>
                    <a:pt x="300" y="114"/>
                  </a:cubicBezTo>
                  <a:cubicBezTo>
                    <a:pt x="299" y="114"/>
                    <a:pt x="299" y="114"/>
                    <a:pt x="299" y="114"/>
                  </a:cubicBezTo>
                  <a:cubicBezTo>
                    <a:pt x="299" y="114"/>
                    <a:pt x="298" y="113"/>
                    <a:pt x="298" y="113"/>
                  </a:cubicBezTo>
                  <a:cubicBezTo>
                    <a:pt x="298" y="113"/>
                    <a:pt x="298" y="113"/>
                    <a:pt x="297" y="113"/>
                  </a:cubicBezTo>
                  <a:cubicBezTo>
                    <a:pt x="297" y="113"/>
                    <a:pt x="297" y="113"/>
                    <a:pt x="296" y="113"/>
                  </a:cubicBezTo>
                  <a:cubicBezTo>
                    <a:pt x="296" y="113"/>
                    <a:pt x="296" y="113"/>
                    <a:pt x="296" y="113"/>
                  </a:cubicBezTo>
                  <a:cubicBezTo>
                    <a:pt x="295" y="113"/>
                    <a:pt x="295" y="114"/>
                    <a:pt x="295" y="114"/>
                  </a:cubicBezTo>
                  <a:cubicBezTo>
                    <a:pt x="294" y="114"/>
                    <a:pt x="294" y="114"/>
                    <a:pt x="294" y="114"/>
                  </a:cubicBezTo>
                  <a:cubicBezTo>
                    <a:pt x="294" y="114"/>
                    <a:pt x="294" y="114"/>
                    <a:pt x="294" y="114"/>
                  </a:cubicBezTo>
                  <a:cubicBezTo>
                    <a:pt x="294" y="114"/>
                    <a:pt x="294" y="114"/>
                    <a:pt x="293" y="115"/>
                  </a:cubicBezTo>
                  <a:lnTo>
                    <a:pt x="114" y="294"/>
                  </a:lnTo>
                  <a:cubicBezTo>
                    <a:pt x="114" y="294"/>
                    <a:pt x="114" y="294"/>
                    <a:pt x="114" y="294"/>
                  </a:cubicBezTo>
                  <a:cubicBezTo>
                    <a:pt x="113" y="295"/>
                    <a:pt x="113" y="295"/>
                    <a:pt x="113" y="295"/>
                  </a:cubicBezTo>
                  <a:cubicBezTo>
                    <a:pt x="113" y="295"/>
                    <a:pt x="113" y="295"/>
                    <a:pt x="113" y="295"/>
                  </a:cubicBezTo>
                  <a:cubicBezTo>
                    <a:pt x="113" y="296"/>
                    <a:pt x="113" y="296"/>
                    <a:pt x="113" y="296"/>
                  </a:cubicBezTo>
                  <a:cubicBezTo>
                    <a:pt x="113" y="296"/>
                    <a:pt x="112" y="297"/>
                    <a:pt x="112" y="297"/>
                  </a:cubicBezTo>
                  <a:cubicBezTo>
                    <a:pt x="112" y="297"/>
                    <a:pt x="112" y="298"/>
                    <a:pt x="112" y="298"/>
                  </a:cubicBezTo>
                  <a:cubicBezTo>
                    <a:pt x="112" y="298"/>
                    <a:pt x="113" y="299"/>
                    <a:pt x="113" y="299"/>
                  </a:cubicBezTo>
                  <a:cubicBezTo>
                    <a:pt x="113" y="299"/>
                    <a:pt x="113" y="299"/>
                    <a:pt x="113" y="299"/>
                  </a:cubicBezTo>
                  <a:cubicBezTo>
                    <a:pt x="113" y="300"/>
                    <a:pt x="113" y="300"/>
                    <a:pt x="114" y="301"/>
                  </a:cubicBezTo>
                  <a:cubicBezTo>
                    <a:pt x="114" y="301"/>
                    <a:pt x="114" y="301"/>
                    <a:pt x="114" y="301"/>
                  </a:cubicBezTo>
                  <a:cubicBezTo>
                    <a:pt x="114" y="301"/>
                    <a:pt x="114" y="301"/>
                    <a:pt x="114" y="301"/>
                  </a:cubicBezTo>
                  <a:cubicBezTo>
                    <a:pt x="114" y="301"/>
                    <a:pt x="114" y="301"/>
                    <a:pt x="115" y="301"/>
                  </a:cubicBezTo>
                  <a:cubicBezTo>
                    <a:pt x="136" y="316"/>
                    <a:pt x="162" y="323"/>
                    <a:pt x="188" y="323"/>
                  </a:cubicBezTo>
                  <a:cubicBezTo>
                    <a:pt x="209" y="323"/>
                    <a:pt x="229" y="318"/>
                    <a:pt x="248" y="309"/>
                  </a:cubicBezTo>
                  <a:lnTo>
                    <a:pt x="280" y="342"/>
                  </a:lnTo>
                  <a:cubicBezTo>
                    <a:pt x="253" y="359"/>
                    <a:pt x="221" y="368"/>
                    <a:pt x="188" y="368"/>
                  </a:cubicBezTo>
                  <a:cubicBezTo>
                    <a:pt x="89" y="368"/>
                    <a:pt x="9" y="287"/>
                    <a:pt x="9" y="189"/>
                  </a:cubicBezTo>
                  <a:close/>
                  <a:moveTo>
                    <a:pt x="196" y="136"/>
                  </a:moveTo>
                  <a:lnTo>
                    <a:pt x="166" y="106"/>
                  </a:lnTo>
                  <a:lnTo>
                    <a:pt x="135" y="75"/>
                  </a:lnTo>
                  <a:cubicBezTo>
                    <a:pt x="152" y="68"/>
                    <a:pt x="169" y="64"/>
                    <a:pt x="188" y="64"/>
                  </a:cubicBezTo>
                  <a:cubicBezTo>
                    <a:pt x="210" y="64"/>
                    <a:pt x="232" y="69"/>
                    <a:pt x="251" y="81"/>
                  </a:cubicBezTo>
                  <a:lnTo>
                    <a:pt x="196" y="136"/>
                  </a:lnTo>
                  <a:close/>
                  <a:moveTo>
                    <a:pt x="142" y="190"/>
                  </a:moveTo>
                  <a:lnTo>
                    <a:pt x="115" y="163"/>
                  </a:lnTo>
                  <a:lnTo>
                    <a:pt x="163" y="116"/>
                  </a:lnTo>
                  <a:lnTo>
                    <a:pt x="189" y="143"/>
                  </a:lnTo>
                  <a:lnTo>
                    <a:pt x="142" y="190"/>
                  </a:lnTo>
                  <a:close/>
                  <a:moveTo>
                    <a:pt x="80" y="252"/>
                  </a:moveTo>
                  <a:cubicBezTo>
                    <a:pt x="69" y="233"/>
                    <a:pt x="63" y="211"/>
                    <a:pt x="63" y="189"/>
                  </a:cubicBezTo>
                  <a:cubicBezTo>
                    <a:pt x="63" y="171"/>
                    <a:pt x="67" y="154"/>
                    <a:pt x="75" y="137"/>
                  </a:cubicBezTo>
                  <a:lnTo>
                    <a:pt x="105" y="167"/>
                  </a:lnTo>
                  <a:lnTo>
                    <a:pt x="135" y="197"/>
                  </a:lnTo>
                  <a:lnTo>
                    <a:pt x="80" y="252"/>
                  </a:lnTo>
                  <a:close/>
                  <a:moveTo>
                    <a:pt x="58" y="12"/>
                  </a:moveTo>
                  <a:lnTo>
                    <a:pt x="83" y="37"/>
                  </a:lnTo>
                  <a:cubicBezTo>
                    <a:pt x="83" y="37"/>
                    <a:pt x="84" y="37"/>
                    <a:pt x="84" y="37"/>
                  </a:cubicBezTo>
                  <a:cubicBezTo>
                    <a:pt x="84" y="38"/>
                    <a:pt x="85" y="39"/>
                    <a:pt x="86" y="39"/>
                  </a:cubicBezTo>
                  <a:lnTo>
                    <a:pt x="156" y="109"/>
                  </a:lnTo>
                  <a:lnTo>
                    <a:pt x="109" y="157"/>
                  </a:lnTo>
                  <a:lnTo>
                    <a:pt x="11" y="59"/>
                  </a:lnTo>
                  <a:lnTo>
                    <a:pt x="58" y="12"/>
                  </a:lnTo>
                  <a:close/>
                  <a:moveTo>
                    <a:pt x="296" y="125"/>
                  </a:moveTo>
                  <a:cubicBezTo>
                    <a:pt x="307" y="145"/>
                    <a:pt x="313" y="166"/>
                    <a:pt x="313" y="189"/>
                  </a:cubicBezTo>
                  <a:cubicBezTo>
                    <a:pt x="313" y="207"/>
                    <a:pt x="309" y="225"/>
                    <a:pt x="301" y="241"/>
                  </a:cubicBezTo>
                  <a:lnTo>
                    <a:pt x="241" y="181"/>
                  </a:lnTo>
                  <a:lnTo>
                    <a:pt x="296" y="125"/>
                  </a:lnTo>
                  <a:close/>
                  <a:moveTo>
                    <a:pt x="180" y="241"/>
                  </a:moveTo>
                  <a:lnTo>
                    <a:pt x="241" y="302"/>
                  </a:lnTo>
                  <a:cubicBezTo>
                    <a:pt x="224" y="310"/>
                    <a:pt x="206" y="314"/>
                    <a:pt x="188" y="314"/>
                  </a:cubicBezTo>
                  <a:cubicBezTo>
                    <a:pt x="166" y="314"/>
                    <a:pt x="144" y="308"/>
                    <a:pt x="125" y="297"/>
                  </a:cubicBezTo>
                  <a:lnTo>
                    <a:pt x="180" y="241"/>
                  </a:lnTo>
                  <a:close/>
                  <a:moveTo>
                    <a:pt x="288" y="336"/>
                  </a:moveTo>
                  <a:lnTo>
                    <a:pt x="187" y="235"/>
                  </a:lnTo>
                  <a:lnTo>
                    <a:pt x="234" y="187"/>
                  </a:lnTo>
                  <a:lnTo>
                    <a:pt x="335" y="289"/>
                  </a:lnTo>
                  <a:lnTo>
                    <a:pt x="312" y="313"/>
                  </a:lnTo>
                  <a:lnTo>
                    <a:pt x="288" y="336"/>
                  </a:lnTo>
                  <a:close/>
                  <a:moveTo>
                    <a:pt x="360" y="301"/>
                  </a:moveTo>
                  <a:lnTo>
                    <a:pt x="348" y="288"/>
                  </a:lnTo>
                  <a:cubicBezTo>
                    <a:pt x="366" y="258"/>
                    <a:pt x="376" y="224"/>
                    <a:pt x="376" y="189"/>
                  </a:cubicBezTo>
                  <a:cubicBezTo>
                    <a:pt x="376" y="85"/>
                    <a:pt x="292" y="0"/>
                    <a:pt x="188" y="0"/>
                  </a:cubicBezTo>
                  <a:cubicBezTo>
                    <a:pt x="153" y="0"/>
                    <a:pt x="118" y="10"/>
                    <a:pt x="89" y="29"/>
                  </a:cubicBezTo>
                  <a:lnTo>
                    <a:pt x="62" y="2"/>
                  </a:lnTo>
                  <a:cubicBezTo>
                    <a:pt x="60" y="0"/>
                    <a:pt x="57" y="0"/>
                    <a:pt x="55" y="2"/>
                  </a:cubicBezTo>
                  <a:lnTo>
                    <a:pt x="1" y="56"/>
                  </a:lnTo>
                  <a:cubicBezTo>
                    <a:pt x="0" y="57"/>
                    <a:pt x="0" y="58"/>
                    <a:pt x="0" y="59"/>
                  </a:cubicBezTo>
                  <a:cubicBezTo>
                    <a:pt x="0" y="60"/>
                    <a:pt x="0" y="61"/>
                    <a:pt x="1" y="62"/>
                  </a:cubicBezTo>
                  <a:lnTo>
                    <a:pt x="28" y="89"/>
                  </a:lnTo>
                  <a:cubicBezTo>
                    <a:pt x="9" y="119"/>
                    <a:pt x="0" y="153"/>
                    <a:pt x="0" y="189"/>
                  </a:cubicBezTo>
                  <a:cubicBezTo>
                    <a:pt x="0" y="292"/>
                    <a:pt x="84" y="377"/>
                    <a:pt x="188" y="377"/>
                  </a:cubicBezTo>
                  <a:cubicBezTo>
                    <a:pt x="223" y="377"/>
                    <a:pt x="257" y="367"/>
                    <a:pt x="287" y="349"/>
                  </a:cubicBezTo>
                  <a:lnTo>
                    <a:pt x="300" y="361"/>
                  </a:lnTo>
                  <a:lnTo>
                    <a:pt x="314" y="376"/>
                  </a:lnTo>
                  <a:cubicBezTo>
                    <a:pt x="315" y="376"/>
                    <a:pt x="316" y="377"/>
                    <a:pt x="318" y="377"/>
                  </a:cubicBezTo>
                  <a:cubicBezTo>
                    <a:pt x="319" y="377"/>
                    <a:pt x="320" y="376"/>
                    <a:pt x="321" y="376"/>
                  </a:cubicBezTo>
                  <a:lnTo>
                    <a:pt x="375" y="322"/>
                  </a:lnTo>
                  <a:cubicBezTo>
                    <a:pt x="377" y="320"/>
                    <a:pt x="377" y="317"/>
                    <a:pt x="375" y="315"/>
                  </a:cubicBezTo>
                  <a:lnTo>
                    <a:pt x="360" y="30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326">
              <a:extLst>
                <a:ext uri="{FF2B5EF4-FFF2-40B4-BE49-F238E27FC236}">
                  <a16:creationId xmlns:a16="http://schemas.microsoft.com/office/drawing/2014/main" id="{CA9E36F1-E82B-44CD-BD05-D68048937EBD}"/>
                </a:ext>
              </a:extLst>
            </p:cNvPr>
            <p:cNvSpPr>
              <a:spLocks/>
            </p:cNvSpPr>
            <p:nvPr/>
          </p:nvSpPr>
          <p:spPr bwMode="auto">
            <a:xfrm>
              <a:off x="6632576" y="4527551"/>
              <a:ext cx="111125" cy="111125"/>
            </a:xfrm>
            <a:custGeom>
              <a:avLst/>
              <a:gdLst>
                <a:gd name="T0" fmla="*/ 47 w 145"/>
                <a:gd name="T1" fmla="*/ 0 h 145"/>
                <a:gd name="T2" fmla="*/ 72 w 145"/>
                <a:gd name="T3" fmla="*/ 25 h 145"/>
                <a:gd name="T4" fmla="*/ 73 w 145"/>
                <a:gd name="T5" fmla="*/ 25 h 145"/>
                <a:gd name="T6" fmla="*/ 75 w 145"/>
                <a:gd name="T7" fmla="*/ 27 h 145"/>
                <a:gd name="T8" fmla="*/ 145 w 145"/>
                <a:gd name="T9" fmla="*/ 97 h 145"/>
                <a:gd name="T10" fmla="*/ 98 w 145"/>
                <a:gd name="T11" fmla="*/ 145 h 145"/>
                <a:gd name="T12" fmla="*/ 0 w 145"/>
                <a:gd name="T13" fmla="*/ 47 h 145"/>
                <a:gd name="T14" fmla="*/ 47 w 145"/>
                <a:gd name="T15" fmla="*/ 0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45">
                  <a:moveTo>
                    <a:pt x="47" y="0"/>
                  </a:moveTo>
                  <a:lnTo>
                    <a:pt x="72" y="25"/>
                  </a:lnTo>
                  <a:cubicBezTo>
                    <a:pt x="72" y="25"/>
                    <a:pt x="73" y="25"/>
                    <a:pt x="73" y="25"/>
                  </a:cubicBezTo>
                  <a:cubicBezTo>
                    <a:pt x="73" y="26"/>
                    <a:pt x="74" y="27"/>
                    <a:pt x="75" y="27"/>
                  </a:cubicBezTo>
                  <a:lnTo>
                    <a:pt x="145" y="97"/>
                  </a:lnTo>
                  <a:lnTo>
                    <a:pt x="98" y="145"/>
                  </a:lnTo>
                  <a:lnTo>
                    <a:pt x="0" y="47"/>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28">
              <a:extLst>
                <a:ext uri="{FF2B5EF4-FFF2-40B4-BE49-F238E27FC236}">
                  <a16:creationId xmlns:a16="http://schemas.microsoft.com/office/drawing/2014/main" id="{15779D4D-7FBF-46B5-B573-E59BDF2E88DB}"/>
                </a:ext>
              </a:extLst>
            </p:cNvPr>
            <p:cNvSpPr>
              <a:spLocks/>
            </p:cNvSpPr>
            <p:nvPr/>
          </p:nvSpPr>
          <p:spPr bwMode="auto">
            <a:xfrm>
              <a:off x="6630988" y="4525964"/>
              <a:ext cx="273050" cy="273050"/>
            </a:xfrm>
            <a:custGeom>
              <a:avLst/>
              <a:gdLst>
                <a:gd name="T0" fmla="*/ 26 w 358"/>
                <a:gd name="T1" fmla="*/ 86 h 358"/>
                <a:gd name="T2" fmla="*/ 44 w 358"/>
                <a:gd name="T3" fmla="*/ 179 h 358"/>
                <a:gd name="T4" fmla="*/ 66 w 358"/>
                <a:gd name="T5" fmla="*/ 252 h 358"/>
                <a:gd name="T6" fmla="*/ 68 w 358"/>
                <a:gd name="T7" fmla="*/ 253 h 358"/>
                <a:gd name="T8" fmla="*/ 70 w 358"/>
                <a:gd name="T9" fmla="*/ 254 h 358"/>
                <a:gd name="T10" fmla="*/ 73 w 358"/>
                <a:gd name="T11" fmla="*/ 253 h 358"/>
                <a:gd name="T12" fmla="*/ 73 w 358"/>
                <a:gd name="T13" fmla="*/ 253 h 358"/>
                <a:gd name="T14" fmla="*/ 136 w 358"/>
                <a:gd name="T15" fmla="*/ 190 h 358"/>
                <a:gd name="T16" fmla="*/ 190 w 358"/>
                <a:gd name="T17" fmla="*/ 136 h 358"/>
                <a:gd name="T18" fmla="*/ 190 w 358"/>
                <a:gd name="T19" fmla="*/ 136 h 358"/>
                <a:gd name="T20" fmla="*/ 253 w 358"/>
                <a:gd name="T21" fmla="*/ 73 h 358"/>
                <a:gd name="T22" fmla="*/ 254 w 358"/>
                <a:gd name="T23" fmla="*/ 72 h 358"/>
                <a:gd name="T24" fmla="*/ 254 w 358"/>
                <a:gd name="T25" fmla="*/ 70 h 358"/>
                <a:gd name="T26" fmla="*/ 254 w 358"/>
                <a:gd name="T27" fmla="*/ 68 h 358"/>
                <a:gd name="T28" fmla="*/ 253 w 358"/>
                <a:gd name="T29" fmla="*/ 67 h 358"/>
                <a:gd name="T30" fmla="*/ 253 w 358"/>
                <a:gd name="T31" fmla="*/ 66 h 358"/>
                <a:gd name="T32" fmla="*/ 179 w 358"/>
                <a:gd name="T33" fmla="*/ 44 h 358"/>
                <a:gd name="T34" fmla="*/ 86 w 358"/>
                <a:gd name="T35" fmla="*/ 26 h 358"/>
                <a:gd name="T36" fmla="*/ 358 w 358"/>
                <a:gd name="T37" fmla="*/ 179 h 358"/>
                <a:gd name="T38" fmla="*/ 299 w 358"/>
                <a:gd name="T39" fmla="*/ 238 h 358"/>
                <a:gd name="T40" fmla="*/ 292 w 358"/>
                <a:gd name="T41" fmla="*/ 105 h 358"/>
                <a:gd name="T42" fmla="*/ 291 w 358"/>
                <a:gd name="T43" fmla="*/ 105 h 358"/>
                <a:gd name="T44" fmla="*/ 290 w 358"/>
                <a:gd name="T45" fmla="*/ 104 h 358"/>
                <a:gd name="T46" fmla="*/ 288 w 358"/>
                <a:gd name="T47" fmla="*/ 103 h 358"/>
                <a:gd name="T48" fmla="*/ 287 w 358"/>
                <a:gd name="T49" fmla="*/ 103 h 358"/>
                <a:gd name="T50" fmla="*/ 285 w 358"/>
                <a:gd name="T51" fmla="*/ 104 h 358"/>
                <a:gd name="T52" fmla="*/ 284 w 358"/>
                <a:gd name="T53" fmla="*/ 105 h 358"/>
                <a:gd name="T54" fmla="*/ 105 w 358"/>
                <a:gd name="T55" fmla="*/ 284 h 358"/>
                <a:gd name="T56" fmla="*/ 104 w 358"/>
                <a:gd name="T57" fmla="*/ 285 h 358"/>
                <a:gd name="T58" fmla="*/ 103 w 358"/>
                <a:gd name="T59" fmla="*/ 287 h 358"/>
                <a:gd name="T60" fmla="*/ 104 w 358"/>
                <a:gd name="T61" fmla="*/ 289 h 358"/>
                <a:gd name="T62" fmla="*/ 105 w 358"/>
                <a:gd name="T63" fmla="*/ 291 h 358"/>
                <a:gd name="T64" fmla="*/ 105 w 358"/>
                <a:gd name="T65" fmla="*/ 291 h 358"/>
                <a:gd name="T66" fmla="*/ 179 w 358"/>
                <a:gd name="T67" fmla="*/ 313 h 358"/>
                <a:gd name="T68" fmla="*/ 271 w 358"/>
                <a:gd name="T69" fmla="*/ 332 h 358"/>
                <a:gd name="T70" fmla="*/ 0 w 358"/>
                <a:gd name="T71" fmla="*/ 179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8" h="358">
                  <a:moveTo>
                    <a:pt x="0" y="179"/>
                  </a:moveTo>
                  <a:cubicBezTo>
                    <a:pt x="0" y="146"/>
                    <a:pt x="9" y="114"/>
                    <a:pt x="26" y="86"/>
                  </a:cubicBezTo>
                  <a:lnTo>
                    <a:pt x="59" y="120"/>
                  </a:lnTo>
                  <a:cubicBezTo>
                    <a:pt x="49" y="139"/>
                    <a:pt x="44" y="158"/>
                    <a:pt x="44" y="179"/>
                  </a:cubicBezTo>
                  <a:cubicBezTo>
                    <a:pt x="44" y="205"/>
                    <a:pt x="52" y="230"/>
                    <a:pt x="66" y="252"/>
                  </a:cubicBezTo>
                  <a:cubicBezTo>
                    <a:pt x="66" y="252"/>
                    <a:pt x="66" y="252"/>
                    <a:pt x="66" y="252"/>
                  </a:cubicBezTo>
                  <a:cubicBezTo>
                    <a:pt x="67" y="252"/>
                    <a:pt x="67" y="253"/>
                    <a:pt x="67" y="253"/>
                  </a:cubicBezTo>
                  <a:cubicBezTo>
                    <a:pt x="67" y="253"/>
                    <a:pt x="67" y="253"/>
                    <a:pt x="68" y="253"/>
                  </a:cubicBezTo>
                  <a:cubicBezTo>
                    <a:pt x="68" y="253"/>
                    <a:pt x="68" y="254"/>
                    <a:pt x="68" y="254"/>
                  </a:cubicBezTo>
                  <a:cubicBezTo>
                    <a:pt x="69" y="254"/>
                    <a:pt x="69" y="254"/>
                    <a:pt x="70" y="254"/>
                  </a:cubicBezTo>
                  <a:cubicBezTo>
                    <a:pt x="71" y="254"/>
                    <a:pt x="72" y="254"/>
                    <a:pt x="72" y="253"/>
                  </a:cubicBezTo>
                  <a:cubicBezTo>
                    <a:pt x="72" y="253"/>
                    <a:pt x="73" y="253"/>
                    <a:pt x="73" y="253"/>
                  </a:cubicBezTo>
                  <a:cubicBezTo>
                    <a:pt x="73" y="253"/>
                    <a:pt x="73" y="253"/>
                    <a:pt x="73" y="253"/>
                  </a:cubicBezTo>
                  <a:cubicBezTo>
                    <a:pt x="73" y="253"/>
                    <a:pt x="73" y="253"/>
                    <a:pt x="73" y="253"/>
                  </a:cubicBezTo>
                  <a:lnTo>
                    <a:pt x="136" y="190"/>
                  </a:lnTo>
                  <a:cubicBezTo>
                    <a:pt x="136" y="190"/>
                    <a:pt x="136" y="190"/>
                    <a:pt x="136" y="190"/>
                  </a:cubicBezTo>
                  <a:cubicBezTo>
                    <a:pt x="136" y="190"/>
                    <a:pt x="136" y="190"/>
                    <a:pt x="136" y="190"/>
                  </a:cubicBezTo>
                  <a:lnTo>
                    <a:pt x="190" y="136"/>
                  </a:lnTo>
                  <a:cubicBezTo>
                    <a:pt x="190" y="136"/>
                    <a:pt x="190" y="136"/>
                    <a:pt x="190" y="136"/>
                  </a:cubicBezTo>
                  <a:cubicBezTo>
                    <a:pt x="190" y="136"/>
                    <a:pt x="190" y="136"/>
                    <a:pt x="190" y="136"/>
                  </a:cubicBezTo>
                  <a:lnTo>
                    <a:pt x="253" y="73"/>
                  </a:lnTo>
                  <a:cubicBezTo>
                    <a:pt x="253" y="73"/>
                    <a:pt x="253" y="73"/>
                    <a:pt x="253" y="73"/>
                  </a:cubicBezTo>
                  <a:cubicBezTo>
                    <a:pt x="253" y="72"/>
                    <a:pt x="254" y="72"/>
                    <a:pt x="254" y="72"/>
                  </a:cubicBezTo>
                  <a:cubicBezTo>
                    <a:pt x="254" y="72"/>
                    <a:pt x="254" y="72"/>
                    <a:pt x="254" y="72"/>
                  </a:cubicBezTo>
                  <a:cubicBezTo>
                    <a:pt x="254" y="72"/>
                    <a:pt x="254" y="71"/>
                    <a:pt x="254" y="71"/>
                  </a:cubicBezTo>
                  <a:cubicBezTo>
                    <a:pt x="254" y="71"/>
                    <a:pt x="254" y="70"/>
                    <a:pt x="254" y="70"/>
                  </a:cubicBezTo>
                  <a:cubicBezTo>
                    <a:pt x="254" y="70"/>
                    <a:pt x="254" y="70"/>
                    <a:pt x="254" y="69"/>
                  </a:cubicBezTo>
                  <a:cubicBezTo>
                    <a:pt x="254" y="69"/>
                    <a:pt x="254" y="69"/>
                    <a:pt x="254" y="68"/>
                  </a:cubicBezTo>
                  <a:cubicBezTo>
                    <a:pt x="254" y="68"/>
                    <a:pt x="254" y="68"/>
                    <a:pt x="254" y="68"/>
                  </a:cubicBezTo>
                  <a:cubicBezTo>
                    <a:pt x="254" y="67"/>
                    <a:pt x="253" y="67"/>
                    <a:pt x="253" y="67"/>
                  </a:cubicBezTo>
                  <a:cubicBezTo>
                    <a:pt x="253" y="67"/>
                    <a:pt x="253" y="67"/>
                    <a:pt x="253" y="66"/>
                  </a:cubicBezTo>
                  <a:cubicBezTo>
                    <a:pt x="253" y="66"/>
                    <a:pt x="253" y="66"/>
                    <a:pt x="253" y="66"/>
                  </a:cubicBezTo>
                  <a:cubicBezTo>
                    <a:pt x="253" y="66"/>
                    <a:pt x="252" y="66"/>
                    <a:pt x="252" y="66"/>
                  </a:cubicBezTo>
                  <a:cubicBezTo>
                    <a:pt x="230" y="52"/>
                    <a:pt x="205" y="44"/>
                    <a:pt x="179" y="44"/>
                  </a:cubicBezTo>
                  <a:cubicBezTo>
                    <a:pt x="158" y="44"/>
                    <a:pt x="138" y="49"/>
                    <a:pt x="119" y="58"/>
                  </a:cubicBezTo>
                  <a:lnTo>
                    <a:pt x="86" y="26"/>
                  </a:lnTo>
                  <a:cubicBezTo>
                    <a:pt x="114" y="9"/>
                    <a:pt x="146" y="0"/>
                    <a:pt x="179" y="0"/>
                  </a:cubicBezTo>
                  <a:cubicBezTo>
                    <a:pt x="278" y="0"/>
                    <a:pt x="358" y="80"/>
                    <a:pt x="358" y="179"/>
                  </a:cubicBezTo>
                  <a:cubicBezTo>
                    <a:pt x="358" y="211"/>
                    <a:pt x="349" y="243"/>
                    <a:pt x="332" y="271"/>
                  </a:cubicBezTo>
                  <a:lnTo>
                    <a:pt x="299" y="238"/>
                  </a:lnTo>
                  <a:cubicBezTo>
                    <a:pt x="308" y="220"/>
                    <a:pt x="313" y="199"/>
                    <a:pt x="313" y="179"/>
                  </a:cubicBezTo>
                  <a:cubicBezTo>
                    <a:pt x="313" y="152"/>
                    <a:pt x="306" y="127"/>
                    <a:pt x="292" y="105"/>
                  </a:cubicBezTo>
                  <a:cubicBezTo>
                    <a:pt x="292" y="105"/>
                    <a:pt x="291" y="105"/>
                    <a:pt x="291" y="105"/>
                  </a:cubicBezTo>
                  <a:cubicBezTo>
                    <a:pt x="291" y="105"/>
                    <a:pt x="291" y="105"/>
                    <a:pt x="291" y="105"/>
                  </a:cubicBezTo>
                  <a:cubicBezTo>
                    <a:pt x="291" y="104"/>
                    <a:pt x="291" y="104"/>
                    <a:pt x="291" y="104"/>
                  </a:cubicBezTo>
                  <a:cubicBezTo>
                    <a:pt x="290" y="104"/>
                    <a:pt x="290" y="104"/>
                    <a:pt x="290" y="104"/>
                  </a:cubicBezTo>
                  <a:cubicBezTo>
                    <a:pt x="290" y="104"/>
                    <a:pt x="289" y="103"/>
                    <a:pt x="289" y="103"/>
                  </a:cubicBezTo>
                  <a:cubicBezTo>
                    <a:pt x="289" y="103"/>
                    <a:pt x="289" y="103"/>
                    <a:pt x="288" y="103"/>
                  </a:cubicBezTo>
                  <a:cubicBezTo>
                    <a:pt x="288" y="103"/>
                    <a:pt x="288" y="103"/>
                    <a:pt x="287" y="103"/>
                  </a:cubicBezTo>
                  <a:cubicBezTo>
                    <a:pt x="287" y="103"/>
                    <a:pt x="287" y="103"/>
                    <a:pt x="287" y="103"/>
                  </a:cubicBezTo>
                  <a:cubicBezTo>
                    <a:pt x="286" y="103"/>
                    <a:pt x="286" y="104"/>
                    <a:pt x="286" y="104"/>
                  </a:cubicBezTo>
                  <a:cubicBezTo>
                    <a:pt x="285" y="104"/>
                    <a:pt x="285" y="104"/>
                    <a:pt x="285" y="104"/>
                  </a:cubicBezTo>
                  <a:cubicBezTo>
                    <a:pt x="285" y="104"/>
                    <a:pt x="285" y="104"/>
                    <a:pt x="285" y="104"/>
                  </a:cubicBezTo>
                  <a:cubicBezTo>
                    <a:pt x="285" y="104"/>
                    <a:pt x="285" y="104"/>
                    <a:pt x="284" y="105"/>
                  </a:cubicBezTo>
                  <a:lnTo>
                    <a:pt x="105" y="284"/>
                  </a:lnTo>
                  <a:cubicBezTo>
                    <a:pt x="105" y="284"/>
                    <a:pt x="105" y="284"/>
                    <a:pt x="105" y="284"/>
                  </a:cubicBezTo>
                  <a:cubicBezTo>
                    <a:pt x="104" y="285"/>
                    <a:pt x="104" y="285"/>
                    <a:pt x="104" y="285"/>
                  </a:cubicBezTo>
                  <a:cubicBezTo>
                    <a:pt x="104" y="285"/>
                    <a:pt x="104" y="285"/>
                    <a:pt x="104" y="285"/>
                  </a:cubicBezTo>
                  <a:cubicBezTo>
                    <a:pt x="104" y="286"/>
                    <a:pt x="104" y="286"/>
                    <a:pt x="104" y="286"/>
                  </a:cubicBezTo>
                  <a:cubicBezTo>
                    <a:pt x="104" y="286"/>
                    <a:pt x="103" y="287"/>
                    <a:pt x="103" y="287"/>
                  </a:cubicBezTo>
                  <a:cubicBezTo>
                    <a:pt x="103" y="287"/>
                    <a:pt x="103" y="288"/>
                    <a:pt x="103" y="288"/>
                  </a:cubicBezTo>
                  <a:cubicBezTo>
                    <a:pt x="103" y="288"/>
                    <a:pt x="104" y="289"/>
                    <a:pt x="104" y="289"/>
                  </a:cubicBezTo>
                  <a:cubicBezTo>
                    <a:pt x="104" y="289"/>
                    <a:pt x="104" y="289"/>
                    <a:pt x="104" y="289"/>
                  </a:cubicBezTo>
                  <a:cubicBezTo>
                    <a:pt x="104" y="290"/>
                    <a:pt x="104" y="290"/>
                    <a:pt x="105" y="291"/>
                  </a:cubicBezTo>
                  <a:cubicBezTo>
                    <a:pt x="105" y="291"/>
                    <a:pt x="105" y="291"/>
                    <a:pt x="105" y="291"/>
                  </a:cubicBezTo>
                  <a:cubicBezTo>
                    <a:pt x="105" y="291"/>
                    <a:pt x="105" y="291"/>
                    <a:pt x="105" y="291"/>
                  </a:cubicBezTo>
                  <a:cubicBezTo>
                    <a:pt x="105" y="291"/>
                    <a:pt x="105" y="291"/>
                    <a:pt x="106" y="291"/>
                  </a:cubicBezTo>
                  <a:cubicBezTo>
                    <a:pt x="127" y="306"/>
                    <a:pt x="153" y="313"/>
                    <a:pt x="179" y="313"/>
                  </a:cubicBezTo>
                  <a:cubicBezTo>
                    <a:pt x="200" y="313"/>
                    <a:pt x="220" y="308"/>
                    <a:pt x="239" y="299"/>
                  </a:cubicBezTo>
                  <a:lnTo>
                    <a:pt x="271" y="332"/>
                  </a:lnTo>
                  <a:cubicBezTo>
                    <a:pt x="244" y="349"/>
                    <a:pt x="212" y="358"/>
                    <a:pt x="179" y="358"/>
                  </a:cubicBezTo>
                  <a:cubicBezTo>
                    <a:pt x="80" y="358"/>
                    <a:pt x="0" y="277"/>
                    <a:pt x="0" y="1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331">
              <a:extLst>
                <a:ext uri="{FF2B5EF4-FFF2-40B4-BE49-F238E27FC236}">
                  <a16:creationId xmlns:a16="http://schemas.microsoft.com/office/drawing/2014/main" id="{315EC91B-4509-442C-AB73-E0A255D463AB}"/>
                </a:ext>
              </a:extLst>
            </p:cNvPr>
            <p:cNvSpPr>
              <a:spLocks/>
            </p:cNvSpPr>
            <p:nvPr/>
          </p:nvSpPr>
          <p:spPr bwMode="auto">
            <a:xfrm>
              <a:off x="6867526" y="4641851"/>
              <a:ext cx="34925" cy="77788"/>
            </a:xfrm>
            <a:custGeom>
              <a:avLst/>
              <a:gdLst>
                <a:gd name="T0" fmla="*/ 21 w 44"/>
                <a:gd name="T1" fmla="*/ 102 h 102"/>
                <a:gd name="T2" fmla="*/ 24 w 44"/>
                <a:gd name="T3" fmla="*/ 101 h 102"/>
                <a:gd name="T4" fmla="*/ 25 w 44"/>
                <a:gd name="T5" fmla="*/ 94 h 102"/>
                <a:gd name="T6" fmla="*/ 26 w 44"/>
                <a:gd name="T7" fmla="*/ 54 h 102"/>
                <a:gd name="T8" fmla="*/ 28 w 44"/>
                <a:gd name="T9" fmla="*/ 3 h 102"/>
                <a:gd name="T10" fmla="*/ 21 w 44"/>
                <a:gd name="T11" fmla="*/ 2 h 102"/>
                <a:gd name="T12" fmla="*/ 20 w 44"/>
                <a:gd name="T13" fmla="*/ 8 h 102"/>
                <a:gd name="T14" fmla="*/ 18 w 44"/>
                <a:gd name="T15" fmla="*/ 49 h 102"/>
                <a:gd name="T16" fmla="*/ 18 w 44"/>
                <a:gd name="T17" fmla="*/ 101 h 102"/>
                <a:gd name="T18" fmla="*/ 21 w 44"/>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102">
                  <a:moveTo>
                    <a:pt x="21" y="102"/>
                  </a:moveTo>
                  <a:cubicBezTo>
                    <a:pt x="22" y="102"/>
                    <a:pt x="23" y="102"/>
                    <a:pt x="24" y="101"/>
                  </a:cubicBezTo>
                  <a:cubicBezTo>
                    <a:pt x="26" y="99"/>
                    <a:pt x="26" y="96"/>
                    <a:pt x="25" y="94"/>
                  </a:cubicBezTo>
                  <a:cubicBezTo>
                    <a:pt x="11" y="79"/>
                    <a:pt x="18" y="68"/>
                    <a:pt x="26" y="54"/>
                  </a:cubicBezTo>
                  <a:cubicBezTo>
                    <a:pt x="35" y="39"/>
                    <a:pt x="44" y="23"/>
                    <a:pt x="28" y="3"/>
                  </a:cubicBezTo>
                  <a:cubicBezTo>
                    <a:pt x="26" y="1"/>
                    <a:pt x="23" y="0"/>
                    <a:pt x="21" y="2"/>
                  </a:cubicBezTo>
                  <a:cubicBezTo>
                    <a:pt x="19" y="4"/>
                    <a:pt x="19" y="6"/>
                    <a:pt x="20" y="8"/>
                  </a:cubicBezTo>
                  <a:cubicBezTo>
                    <a:pt x="33" y="24"/>
                    <a:pt x="26" y="35"/>
                    <a:pt x="18" y="49"/>
                  </a:cubicBezTo>
                  <a:cubicBezTo>
                    <a:pt x="10" y="64"/>
                    <a:pt x="0" y="80"/>
                    <a:pt x="18" y="101"/>
                  </a:cubicBezTo>
                  <a:cubicBezTo>
                    <a:pt x="19" y="102"/>
                    <a:pt x="20" y="102"/>
                    <a:pt x="21"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332">
              <a:extLst>
                <a:ext uri="{FF2B5EF4-FFF2-40B4-BE49-F238E27FC236}">
                  <a16:creationId xmlns:a16="http://schemas.microsoft.com/office/drawing/2014/main" id="{F80139DC-0401-4573-84B5-290670A9B033}"/>
                </a:ext>
              </a:extLst>
            </p:cNvPr>
            <p:cNvSpPr>
              <a:spLocks/>
            </p:cNvSpPr>
            <p:nvPr/>
          </p:nvSpPr>
          <p:spPr bwMode="auto">
            <a:xfrm>
              <a:off x="6646863" y="4560889"/>
              <a:ext cx="65088" cy="65088"/>
            </a:xfrm>
            <a:custGeom>
              <a:avLst/>
              <a:gdLst>
                <a:gd name="T0" fmla="*/ 81 w 86"/>
                <a:gd name="T1" fmla="*/ 86 h 86"/>
                <a:gd name="T2" fmla="*/ 84 w 86"/>
                <a:gd name="T3" fmla="*/ 85 h 86"/>
                <a:gd name="T4" fmla="*/ 84 w 86"/>
                <a:gd name="T5" fmla="*/ 78 h 86"/>
                <a:gd name="T6" fmla="*/ 8 w 86"/>
                <a:gd name="T7" fmla="*/ 2 h 86"/>
                <a:gd name="T8" fmla="*/ 2 w 86"/>
                <a:gd name="T9" fmla="*/ 2 h 86"/>
                <a:gd name="T10" fmla="*/ 2 w 86"/>
                <a:gd name="T11" fmla="*/ 9 h 86"/>
                <a:gd name="T12" fmla="*/ 78 w 86"/>
                <a:gd name="T13" fmla="*/ 85 h 86"/>
                <a:gd name="T14" fmla="*/ 81 w 86"/>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86">
                  <a:moveTo>
                    <a:pt x="81" y="86"/>
                  </a:moveTo>
                  <a:cubicBezTo>
                    <a:pt x="82" y="86"/>
                    <a:pt x="83" y="86"/>
                    <a:pt x="84" y="85"/>
                  </a:cubicBezTo>
                  <a:cubicBezTo>
                    <a:pt x="86" y="83"/>
                    <a:pt x="86" y="80"/>
                    <a:pt x="84" y="78"/>
                  </a:cubicBezTo>
                  <a:lnTo>
                    <a:pt x="8" y="2"/>
                  </a:lnTo>
                  <a:cubicBezTo>
                    <a:pt x="6" y="0"/>
                    <a:pt x="3" y="0"/>
                    <a:pt x="2" y="2"/>
                  </a:cubicBezTo>
                  <a:cubicBezTo>
                    <a:pt x="0" y="4"/>
                    <a:pt x="0" y="7"/>
                    <a:pt x="2" y="9"/>
                  </a:cubicBezTo>
                  <a:lnTo>
                    <a:pt x="78" y="85"/>
                  </a:lnTo>
                  <a:cubicBezTo>
                    <a:pt x="79" y="86"/>
                    <a:pt x="80" y="86"/>
                    <a:pt x="81"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8" name="Graphic 17" descr="Exit with solid fill">
            <a:extLst>
              <a:ext uri="{FF2B5EF4-FFF2-40B4-BE49-F238E27FC236}">
                <a16:creationId xmlns:a16="http://schemas.microsoft.com/office/drawing/2014/main" id="{CD635162-D57F-480B-A826-6A1467A4CC9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09155" y="1315384"/>
            <a:ext cx="1725386" cy="1725386"/>
          </a:xfrm>
          <a:prstGeom prst="rect">
            <a:avLst/>
          </a:prstGeom>
        </p:spPr>
      </p:pic>
      <p:grpSp>
        <p:nvGrpSpPr>
          <p:cNvPr id="32" name="Question2" descr="{&quot;Key&quot;:&quot;POWER_USER_SHAPE_ICON&quot;,&quot;Value&quot;:&quot;POWER_USER_SHAPE_ICON_STYLE_1&quot;}">
            <a:extLst>
              <a:ext uri="{FF2B5EF4-FFF2-40B4-BE49-F238E27FC236}">
                <a16:creationId xmlns:a16="http://schemas.microsoft.com/office/drawing/2014/main" id="{916DD600-FEAE-4391-8C9E-E85D20CE49CD}"/>
              </a:ext>
            </a:extLst>
          </p:cNvPr>
          <p:cNvGrpSpPr>
            <a:grpSpLocks noChangeAspect="1"/>
          </p:cNvGrpSpPr>
          <p:nvPr>
            <p:custDataLst>
              <p:tags r:id="rId2"/>
            </p:custDataLst>
          </p:nvPr>
        </p:nvGrpSpPr>
        <p:grpSpPr>
          <a:xfrm>
            <a:off x="9624447" y="1349814"/>
            <a:ext cx="1721544" cy="1214462"/>
            <a:chOff x="6999288" y="3048000"/>
            <a:chExt cx="1077913" cy="760413"/>
          </a:xfrm>
          <a:solidFill>
            <a:schemeClr val="accent5">
              <a:lumMod val="25000"/>
            </a:schemeClr>
          </a:solidFill>
        </p:grpSpPr>
        <p:sp>
          <p:nvSpPr>
            <p:cNvPr id="33" name="Oval 136">
              <a:extLst>
                <a:ext uri="{FF2B5EF4-FFF2-40B4-BE49-F238E27FC236}">
                  <a16:creationId xmlns:a16="http://schemas.microsoft.com/office/drawing/2014/main" id="{6450D5F9-4717-4D37-A48C-C623DE8B4669}"/>
                </a:ext>
              </a:extLst>
            </p:cNvPr>
            <p:cNvSpPr>
              <a:spLocks noChangeArrowheads="1"/>
            </p:cNvSpPr>
            <p:nvPr/>
          </p:nvSpPr>
          <p:spPr bwMode="auto">
            <a:xfrm>
              <a:off x="7280276" y="3048000"/>
              <a:ext cx="255588" cy="2524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137">
              <a:extLst>
                <a:ext uri="{FF2B5EF4-FFF2-40B4-BE49-F238E27FC236}">
                  <a16:creationId xmlns:a16="http://schemas.microsoft.com/office/drawing/2014/main" id="{2C928DB6-29CD-4BF7-AAD9-42930602FB26}"/>
                </a:ext>
              </a:extLst>
            </p:cNvPr>
            <p:cNvSpPr>
              <a:spLocks/>
            </p:cNvSpPr>
            <p:nvPr/>
          </p:nvSpPr>
          <p:spPr bwMode="auto">
            <a:xfrm>
              <a:off x="6999288" y="3048000"/>
              <a:ext cx="627063" cy="708025"/>
            </a:xfrm>
            <a:custGeom>
              <a:avLst/>
              <a:gdLst>
                <a:gd name="T0" fmla="*/ 824 w 824"/>
                <a:gd name="T1" fmla="*/ 530 h 929"/>
                <a:gd name="T2" fmla="*/ 623 w 824"/>
                <a:gd name="T3" fmla="*/ 377 h 929"/>
                <a:gd name="T4" fmla="*/ 408 w 824"/>
                <a:gd name="T5" fmla="*/ 345 h 929"/>
                <a:gd name="T6" fmla="*/ 129 w 824"/>
                <a:gd name="T7" fmla="*/ 44 h 929"/>
                <a:gd name="T8" fmla="*/ 32 w 824"/>
                <a:gd name="T9" fmla="*/ 19 h 929"/>
                <a:gd name="T10" fmla="*/ 14 w 824"/>
                <a:gd name="T11" fmla="*/ 121 h 929"/>
                <a:gd name="T12" fmla="*/ 312 w 824"/>
                <a:gd name="T13" fmla="*/ 497 h 929"/>
                <a:gd name="T14" fmla="*/ 313 w 824"/>
                <a:gd name="T15" fmla="*/ 538 h 929"/>
                <a:gd name="T16" fmla="*/ 280 w 824"/>
                <a:gd name="T17" fmla="*/ 538 h 929"/>
                <a:gd name="T18" fmla="*/ 258 w 824"/>
                <a:gd name="T19" fmla="*/ 561 h 929"/>
                <a:gd name="T20" fmla="*/ 258 w 824"/>
                <a:gd name="T21" fmla="*/ 655 h 929"/>
                <a:gd name="T22" fmla="*/ 180 w 824"/>
                <a:gd name="T23" fmla="*/ 655 h 929"/>
                <a:gd name="T24" fmla="*/ 180 w 824"/>
                <a:gd name="T25" fmla="*/ 707 h 929"/>
                <a:gd name="T26" fmla="*/ 258 w 824"/>
                <a:gd name="T27" fmla="*/ 707 h 929"/>
                <a:gd name="T28" fmla="*/ 258 w 824"/>
                <a:gd name="T29" fmla="*/ 760 h 929"/>
                <a:gd name="T30" fmla="*/ 235 w 824"/>
                <a:gd name="T31" fmla="*/ 760 h 929"/>
                <a:gd name="T32" fmla="*/ 217 w 824"/>
                <a:gd name="T33" fmla="*/ 769 h 929"/>
                <a:gd name="T34" fmla="*/ 213 w 824"/>
                <a:gd name="T35" fmla="*/ 788 h 929"/>
                <a:gd name="T36" fmla="*/ 244 w 824"/>
                <a:gd name="T37" fmla="*/ 909 h 929"/>
                <a:gd name="T38" fmla="*/ 270 w 824"/>
                <a:gd name="T39" fmla="*/ 929 h 929"/>
                <a:gd name="T40" fmla="*/ 663 w 824"/>
                <a:gd name="T41" fmla="*/ 929 h 929"/>
                <a:gd name="T42" fmla="*/ 663 w 824"/>
                <a:gd name="T43" fmla="*/ 884 h 929"/>
                <a:gd name="T44" fmla="*/ 303 w 824"/>
                <a:gd name="T45" fmla="*/ 884 h 929"/>
                <a:gd name="T46" fmla="*/ 303 w 824"/>
                <a:gd name="T47" fmla="*/ 583 h 929"/>
                <a:gd name="T48" fmla="*/ 745 w 824"/>
                <a:gd name="T49" fmla="*/ 583 h 929"/>
                <a:gd name="T50" fmla="*/ 824 w 824"/>
                <a:gd name="T51" fmla="*/ 530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4" h="929">
                  <a:moveTo>
                    <a:pt x="824" y="530"/>
                  </a:moveTo>
                  <a:cubicBezTo>
                    <a:pt x="800" y="430"/>
                    <a:pt x="729" y="391"/>
                    <a:pt x="623" y="377"/>
                  </a:cubicBezTo>
                  <a:cubicBezTo>
                    <a:pt x="542" y="365"/>
                    <a:pt x="486" y="378"/>
                    <a:pt x="408" y="345"/>
                  </a:cubicBezTo>
                  <a:cubicBezTo>
                    <a:pt x="231" y="269"/>
                    <a:pt x="129" y="44"/>
                    <a:pt x="129" y="44"/>
                  </a:cubicBezTo>
                  <a:cubicBezTo>
                    <a:pt x="108" y="0"/>
                    <a:pt x="56" y="4"/>
                    <a:pt x="32" y="19"/>
                  </a:cubicBezTo>
                  <a:cubicBezTo>
                    <a:pt x="2" y="39"/>
                    <a:pt x="0" y="83"/>
                    <a:pt x="14" y="121"/>
                  </a:cubicBezTo>
                  <a:cubicBezTo>
                    <a:pt x="105" y="398"/>
                    <a:pt x="312" y="497"/>
                    <a:pt x="312" y="497"/>
                  </a:cubicBezTo>
                  <a:lnTo>
                    <a:pt x="313" y="538"/>
                  </a:lnTo>
                  <a:lnTo>
                    <a:pt x="280" y="538"/>
                  </a:lnTo>
                  <a:cubicBezTo>
                    <a:pt x="268" y="538"/>
                    <a:pt x="258" y="548"/>
                    <a:pt x="258" y="561"/>
                  </a:cubicBezTo>
                  <a:lnTo>
                    <a:pt x="258" y="655"/>
                  </a:lnTo>
                  <a:lnTo>
                    <a:pt x="180" y="655"/>
                  </a:lnTo>
                  <a:lnTo>
                    <a:pt x="180" y="707"/>
                  </a:lnTo>
                  <a:lnTo>
                    <a:pt x="258" y="707"/>
                  </a:lnTo>
                  <a:lnTo>
                    <a:pt x="258" y="760"/>
                  </a:lnTo>
                  <a:lnTo>
                    <a:pt x="235" y="760"/>
                  </a:lnTo>
                  <a:cubicBezTo>
                    <a:pt x="228" y="760"/>
                    <a:pt x="221" y="763"/>
                    <a:pt x="217" y="769"/>
                  </a:cubicBezTo>
                  <a:cubicBezTo>
                    <a:pt x="213" y="774"/>
                    <a:pt x="211" y="781"/>
                    <a:pt x="213" y="788"/>
                  </a:cubicBezTo>
                  <a:lnTo>
                    <a:pt x="244" y="909"/>
                  </a:lnTo>
                  <a:cubicBezTo>
                    <a:pt x="250" y="926"/>
                    <a:pt x="261" y="929"/>
                    <a:pt x="270" y="929"/>
                  </a:cubicBezTo>
                  <a:lnTo>
                    <a:pt x="663" y="929"/>
                  </a:lnTo>
                  <a:lnTo>
                    <a:pt x="663" y="884"/>
                  </a:lnTo>
                  <a:lnTo>
                    <a:pt x="303" y="884"/>
                  </a:lnTo>
                  <a:lnTo>
                    <a:pt x="303" y="583"/>
                  </a:lnTo>
                  <a:lnTo>
                    <a:pt x="745" y="583"/>
                  </a:lnTo>
                  <a:cubicBezTo>
                    <a:pt x="761" y="566"/>
                    <a:pt x="800" y="540"/>
                    <a:pt x="824" y="53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Oval 138">
              <a:extLst>
                <a:ext uri="{FF2B5EF4-FFF2-40B4-BE49-F238E27FC236}">
                  <a16:creationId xmlns:a16="http://schemas.microsoft.com/office/drawing/2014/main" id="{C0A19A71-394A-43CB-BEC1-4453AC3DD13F}"/>
                </a:ext>
              </a:extLst>
            </p:cNvPr>
            <p:cNvSpPr>
              <a:spLocks noChangeArrowheads="1"/>
            </p:cNvSpPr>
            <p:nvPr/>
          </p:nvSpPr>
          <p:spPr bwMode="auto">
            <a:xfrm>
              <a:off x="7375526" y="3575050"/>
              <a:ext cx="63500" cy="6350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Oval 139">
              <a:extLst>
                <a:ext uri="{FF2B5EF4-FFF2-40B4-BE49-F238E27FC236}">
                  <a16:creationId xmlns:a16="http://schemas.microsoft.com/office/drawing/2014/main" id="{2205AE1C-8EB6-4843-92A5-E622097930AF}"/>
                </a:ext>
              </a:extLst>
            </p:cNvPr>
            <p:cNvSpPr>
              <a:spLocks noChangeArrowheads="1"/>
            </p:cNvSpPr>
            <p:nvPr/>
          </p:nvSpPr>
          <p:spPr bwMode="auto">
            <a:xfrm>
              <a:off x="7650163" y="3103562"/>
              <a:ext cx="311150" cy="3111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140">
              <a:extLst>
                <a:ext uri="{FF2B5EF4-FFF2-40B4-BE49-F238E27FC236}">
                  <a16:creationId xmlns:a16="http://schemas.microsoft.com/office/drawing/2014/main" id="{193142DA-905E-4699-9019-C912A8D99ED9}"/>
                </a:ext>
              </a:extLst>
            </p:cNvPr>
            <p:cNvSpPr>
              <a:spLocks/>
            </p:cNvSpPr>
            <p:nvPr/>
          </p:nvSpPr>
          <p:spPr bwMode="auto">
            <a:xfrm>
              <a:off x="7535863" y="3449638"/>
              <a:ext cx="541338" cy="358775"/>
            </a:xfrm>
            <a:custGeom>
              <a:avLst/>
              <a:gdLst>
                <a:gd name="T0" fmla="*/ 355 w 710"/>
                <a:gd name="T1" fmla="*/ 0 h 472"/>
                <a:gd name="T2" fmla="*/ 0 w 710"/>
                <a:gd name="T3" fmla="*/ 247 h 472"/>
                <a:gd name="T4" fmla="*/ 0 w 710"/>
                <a:gd name="T5" fmla="*/ 472 h 472"/>
                <a:gd name="T6" fmla="*/ 129 w 710"/>
                <a:gd name="T7" fmla="*/ 472 h 472"/>
                <a:gd name="T8" fmla="*/ 137 w 710"/>
                <a:gd name="T9" fmla="*/ 270 h 472"/>
                <a:gd name="T10" fmla="*/ 179 w 710"/>
                <a:gd name="T11" fmla="*/ 270 h 472"/>
                <a:gd name="T12" fmla="*/ 179 w 710"/>
                <a:gd name="T13" fmla="*/ 472 h 472"/>
                <a:gd name="T14" fmla="*/ 531 w 710"/>
                <a:gd name="T15" fmla="*/ 472 h 472"/>
                <a:gd name="T16" fmla="*/ 531 w 710"/>
                <a:gd name="T17" fmla="*/ 270 h 472"/>
                <a:gd name="T18" fmla="*/ 573 w 710"/>
                <a:gd name="T19" fmla="*/ 270 h 472"/>
                <a:gd name="T20" fmla="*/ 581 w 710"/>
                <a:gd name="T21" fmla="*/ 472 h 472"/>
                <a:gd name="T22" fmla="*/ 710 w 710"/>
                <a:gd name="T23" fmla="*/ 472 h 472"/>
                <a:gd name="T24" fmla="*/ 710 w 710"/>
                <a:gd name="T25" fmla="*/ 247 h 472"/>
                <a:gd name="T26" fmla="*/ 355 w 710"/>
                <a:gd name="T27"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0" h="472">
                  <a:moveTo>
                    <a:pt x="355" y="0"/>
                  </a:moveTo>
                  <a:cubicBezTo>
                    <a:pt x="114" y="0"/>
                    <a:pt x="0" y="107"/>
                    <a:pt x="0" y="247"/>
                  </a:cubicBezTo>
                  <a:lnTo>
                    <a:pt x="0" y="472"/>
                  </a:lnTo>
                  <a:lnTo>
                    <a:pt x="129" y="472"/>
                  </a:lnTo>
                  <a:lnTo>
                    <a:pt x="137" y="270"/>
                  </a:lnTo>
                  <a:lnTo>
                    <a:pt x="179" y="270"/>
                  </a:lnTo>
                  <a:lnTo>
                    <a:pt x="179" y="472"/>
                  </a:lnTo>
                  <a:lnTo>
                    <a:pt x="531" y="472"/>
                  </a:lnTo>
                  <a:lnTo>
                    <a:pt x="531" y="270"/>
                  </a:lnTo>
                  <a:lnTo>
                    <a:pt x="573" y="270"/>
                  </a:lnTo>
                  <a:lnTo>
                    <a:pt x="581" y="472"/>
                  </a:lnTo>
                  <a:lnTo>
                    <a:pt x="710" y="472"/>
                  </a:lnTo>
                  <a:lnTo>
                    <a:pt x="710" y="247"/>
                  </a:lnTo>
                  <a:cubicBezTo>
                    <a:pt x="710" y="106"/>
                    <a:pt x="595" y="0"/>
                    <a:pt x="355"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8" name="Happy" descr="{&quot;Key&quot;:&quot;POWER_USER_SHAPE_ICON&quot;,&quot;Value&quot;:&quot;POWER_USER_SHAPE_ICON_STYLE_1&quot;}">
            <a:extLst>
              <a:ext uri="{FF2B5EF4-FFF2-40B4-BE49-F238E27FC236}">
                <a16:creationId xmlns:a16="http://schemas.microsoft.com/office/drawing/2014/main" id="{0530527B-FA3F-4E67-B362-7AD2EF376AA3}"/>
              </a:ext>
            </a:extLst>
          </p:cNvPr>
          <p:cNvGrpSpPr>
            <a:grpSpLocks noChangeAspect="1"/>
          </p:cNvGrpSpPr>
          <p:nvPr>
            <p:custDataLst>
              <p:tags r:id="rId3"/>
            </p:custDataLst>
          </p:nvPr>
        </p:nvGrpSpPr>
        <p:grpSpPr>
          <a:xfrm>
            <a:off x="9668825" y="3933976"/>
            <a:ext cx="1600649" cy="1201177"/>
            <a:chOff x="6688138" y="3114675"/>
            <a:chExt cx="922338" cy="692151"/>
          </a:xfrm>
          <a:solidFill>
            <a:schemeClr val="accent5">
              <a:lumMod val="25000"/>
            </a:schemeClr>
          </a:solidFill>
        </p:grpSpPr>
        <p:sp>
          <p:nvSpPr>
            <p:cNvPr id="39" name="Freeform 80">
              <a:extLst>
                <a:ext uri="{FF2B5EF4-FFF2-40B4-BE49-F238E27FC236}">
                  <a16:creationId xmlns:a16="http://schemas.microsoft.com/office/drawing/2014/main" id="{18EB002C-B3C9-4905-A801-6A15F9150CC7}"/>
                </a:ext>
              </a:extLst>
            </p:cNvPr>
            <p:cNvSpPr>
              <a:spLocks/>
            </p:cNvSpPr>
            <p:nvPr/>
          </p:nvSpPr>
          <p:spPr bwMode="auto">
            <a:xfrm>
              <a:off x="7407275" y="3548063"/>
              <a:ext cx="182563" cy="144463"/>
            </a:xfrm>
            <a:custGeom>
              <a:avLst/>
              <a:gdLst>
                <a:gd name="T0" fmla="*/ 216 w 239"/>
                <a:gd name="T1" fmla="*/ 102 h 190"/>
                <a:gd name="T2" fmla="*/ 75 w 239"/>
                <a:gd name="T3" fmla="*/ 0 h 190"/>
                <a:gd name="T4" fmla="*/ 0 w 239"/>
                <a:gd name="T5" fmla="*/ 81 h 190"/>
                <a:gd name="T6" fmla="*/ 167 w 239"/>
                <a:gd name="T7" fmla="*/ 179 h 190"/>
                <a:gd name="T8" fmla="*/ 218 w 239"/>
                <a:gd name="T9" fmla="*/ 156 h 190"/>
                <a:gd name="T10" fmla="*/ 216 w 239"/>
                <a:gd name="T11" fmla="*/ 102 h 190"/>
              </a:gdLst>
              <a:ahLst/>
              <a:cxnLst>
                <a:cxn ang="0">
                  <a:pos x="T0" y="T1"/>
                </a:cxn>
                <a:cxn ang="0">
                  <a:pos x="T2" y="T3"/>
                </a:cxn>
                <a:cxn ang="0">
                  <a:pos x="T4" y="T5"/>
                </a:cxn>
                <a:cxn ang="0">
                  <a:pos x="T6" y="T7"/>
                </a:cxn>
                <a:cxn ang="0">
                  <a:pos x="T8" y="T9"/>
                </a:cxn>
                <a:cxn ang="0">
                  <a:pos x="T10" y="T11"/>
                </a:cxn>
              </a:cxnLst>
              <a:rect l="0" t="0" r="r" b="b"/>
              <a:pathLst>
                <a:path w="239" h="190">
                  <a:moveTo>
                    <a:pt x="216" y="102"/>
                  </a:moveTo>
                  <a:lnTo>
                    <a:pt x="75" y="0"/>
                  </a:lnTo>
                  <a:cubicBezTo>
                    <a:pt x="54" y="24"/>
                    <a:pt x="21" y="59"/>
                    <a:pt x="0" y="81"/>
                  </a:cubicBezTo>
                  <a:lnTo>
                    <a:pt x="167" y="179"/>
                  </a:lnTo>
                  <a:cubicBezTo>
                    <a:pt x="167" y="179"/>
                    <a:pt x="196" y="190"/>
                    <a:pt x="218" y="156"/>
                  </a:cubicBezTo>
                  <a:cubicBezTo>
                    <a:pt x="239" y="123"/>
                    <a:pt x="216" y="102"/>
                    <a:pt x="216" y="10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81">
              <a:extLst>
                <a:ext uri="{FF2B5EF4-FFF2-40B4-BE49-F238E27FC236}">
                  <a16:creationId xmlns:a16="http://schemas.microsoft.com/office/drawing/2014/main" id="{D764207B-E251-448E-B608-B008A83E8EDA}"/>
                </a:ext>
              </a:extLst>
            </p:cNvPr>
            <p:cNvSpPr>
              <a:spLocks/>
            </p:cNvSpPr>
            <p:nvPr/>
          </p:nvSpPr>
          <p:spPr bwMode="auto">
            <a:xfrm>
              <a:off x="7173913" y="3130550"/>
              <a:ext cx="436563" cy="650875"/>
            </a:xfrm>
            <a:custGeom>
              <a:avLst/>
              <a:gdLst>
                <a:gd name="T0" fmla="*/ 550 w 573"/>
                <a:gd name="T1" fmla="*/ 7 h 854"/>
                <a:gd name="T2" fmla="*/ 494 w 573"/>
                <a:gd name="T3" fmla="*/ 33 h 854"/>
                <a:gd name="T4" fmla="*/ 320 w 573"/>
                <a:gd name="T5" fmla="*/ 230 h 854"/>
                <a:gd name="T6" fmla="*/ 74 w 573"/>
                <a:gd name="T7" fmla="*/ 125 h 854"/>
                <a:gd name="T8" fmla="*/ 15 w 573"/>
                <a:gd name="T9" fmla="*/ 127 h 854"/>
                <a:gd name="T10" fmla="*/ 28 w 573"/>
                <a:gd name="T11" fmla="*/ 191 h 854"/>
                <a:gd name="T12" fmla="*/ 244 w 573"/>
                <a:gd name="T13" fmla="*/ 353 h 854"/>
                <a:gd name="T14" fmla="*/ 224 w 573"/>
                <a:gd name="T15" fmla="*/ 436 h 854"/>
                <a:gd name="T16" fmla="*/ 138 w 573"/>
                <a:gd name="T17" fmla="*/ 594 h 854"/>
                <a:gd name="T18" fmla="*/ 139 w 573"/>
                <a:gd name="T19" fmla="*/ 628 h 854"/>
                <a:gd name="T20" fmla="*/ 265 w 573"/>
                <a:gd name="T21" fmla="*/ 836 h 854"/>
                <a:gd name="T22" fmla="*/ 322 w 573"/>
                <a:gd name="T23" fmla="*/ 842 h 854"/>
                <a:gd name="T24" fmla="*/ 343 w 573"/>
                <a:gd name="T25" fmla="*/ 792 h 854"/>
                <a:gd name="T26" fmla="*/ 261 w 573"/>
                <a:gd name="T27" fmla="*/ 625 h 854"/>
                <a:gd name="T28" fmla="*/ 366 w 573"/>
                <a:gd name="T29" fmla="*/ 512 h 854"/>
                <a:gd name="T30" fmla="*/ 388 w 573"/>
                <a:gd name="T31" fmla="*/ 466 h 854"/>
                <a:gd name="T32" fmla="*/ 421 w 573"/>
                <a:gd name="T33" fmla="*/ 337 h 854"/>
                <a:gd name="T34" fmla="*/ 569 w 573"/>
                <a:gd name="T35" fmla="*/ 69 h 854"/>
                <a:gd name="T36" fmla="*/ 550 w 573"/>
                <a:gd name="T37" fmla="*/ 7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3" h="854">
                  <a:moveTo>
                    <a:pt x="550" y="7"/>
                  </a:moveTo>
                  <a:cubicBezTo>
                    <a:pt x="533" y="0"/>
                    <a:pt x="504" y="5"/>
                    <a:pt x="494" y="33"/>
                  </a:cubicBezTo>
                  <a:cubicBezTo>
                    <a:pt x="474" y="95"/>
                    <a:pt x="443" y="206"/>
                    <a:pt x="320" y="230"/>
                  </a:cubicBezTo>
                  <a:cubicBezTo>
                    <a:pt x="232" y="248"/>
                    <a:pt x="161" y="214"/>
                    <a:pt x="74" y="125"/>
                  </a:cubicBezTo>
                  <a:cubicBezTo>
                    <a:pt x="60" y="110"/>
                    <a:pt x="36" y="105"/>
                    <a:pt x="15" y="127"/>
                  </a:cubicBezTo>
                  <a:cubicBezTo>
                    <a:pt x="0" y="143"/>
                    <a:pt x="13" y="171"/>
                    <a:pt x="28" y="191"/>
                  </a:cubicBezTo>
                  <a:cubicBezTo>
                    <a:pt x="118" y="319"/>
                    <a:pt x="244" y="353"/>
                    <a:pt x="244" y="353"/>
                  </a:cubicBezTo>
                  <a:lnTo>
                    <a:pt x="224" y="436"/>
                  </a:lnTo>
                  <a:lnTo>
                    <a:pt x="138" y="594"/>
                  </a:lnTo>
                  <a:cubicBezTo>
                    <a:pt x="133" y="604"/>
                    <a:pt x="133" y="619"/>
                    <a:pt x="139" y="628"/>
                  </a:cubicBezTo>
                  <a:lnTo>
                    <a:pt x="265" y="836"/>
                  </a:lnTo>
                  <a:cubicBezTo>
                    <a:pt x="279" y="854"/>
                    <a:pt x="301" y="854"/>
                    <a:pt x="322" y="842"/>
                  </a:cubicBezTo>
                  <a:cubicBezTo>
                    <a:pt x="355" y="823"/>
                    <a:pt x="343" y="792"/>
                    <a:pt x="343" y="792"/>
                  </a:cubicBezTo>
                  <a:lnTo>
                    <a:pt x="261" y="625"/>
                  </a:lnTo>
                  <a:cubicBezTo>
                    <a:pt x="261" y="625"/>
                    <a:pt x="340" y="544"/>
                    <a:pt x="366" y="512"/>
                  </a:cubicBezTo>
                  <a:cubicBezTo>
                    <a:pt x="378" y="497"/>
                    <a:pt x="380" y="494"/>
                    <a:pt x="388" y="466"/>
                  </a:cubicBezTo>
                  <a:cubicBezTo>
                    <a:pt x="395" y="441"/>
                    <a:pt x="410" y="377"/>
                    <a:pt x="421" y="337"/>
                  </a:cubicBezTo>
                  <a:cubicBezTo>
                    <a:pt x="443" y="315"/>
                    <a:pt x="541" y="225"/>
                    <a:pt x="569" y="69"/>
                  </a:cubicBezTo>
                  <a:cubicBezTo>
                    <a:pt x="573" y="45"/>
                    <a:pt x="570" y="15"/>
                    <a:pt x="550" y="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82">
              <a:extLst>
                <a:ext uri="{FF2B5EF4-FFF2-40B4-BE49-F238E27FC236}">
                  <a16:creationId xmlns:a16="http://schemas.microsoft.com/office/drawing/2014/main" id="{B6C59698-7084-413D-BF79-992E9BE4521F}"/>
                </a:ext>
              </a:extLst>
            </p:cNvPr>
            <p:cNvSpPr>
              <a:spLocks/>
            </p:cNvSpPr>
            <p:nvPr/>
          </p:nvSpPr>
          <p:spPr bwMode="auto">
            <a:xfrm>
              <a:off x="7329488" y="3130550"/>
              <a:ext cx="152400" cy="153988"/>
            </a:xfrm>
            <a:custGeom>
              <a:avLst/>
              <a:gdLst>
                <a:gd name="T0" fmla="*/ 85 w 201"/>
                <a:gd name="T1" fmla="*/ 8 h 201"/>
                <a:gd name="T2" fmla="*/ 8 w 201"/>
                <a:gd name="T3" fmla="*/ 116 h 201"/>
                <a:gd name="T4" fmla="*/ 116 w 201"/>
                <a:gd name="T5" fmla="*/ 192 h 201"/>
                <a:gd name="T6" fmla="*/ 193 w 201"/>
                <a:gd name="T7" fmla="*/ 85 h 201"/>
                <a:gd name="T8" fmla="*/ 85 w 201"/>
                <a:gd name="T9" fmla="*/ 8 h 201"/>
              </a:gdLst>
              <a:ahLst/>
              <a:cxnLst>
                <a:cxn ang="0">
                  <a:pos x="T0" y="T1"/>
                </a:cxn>
                <a:cxn ang="0">
                  <a:pos x="T2" y="T3"/>
                </a:cxn>
                <a:cxn ang="0">
                  <a:pos x="T4" y="T5"/>
                </a:cxn>
                <a:cxn ang="0">
                  <a:pos x="T6" y="T7"/>
                </a:cxn>
                <a:cxn ang="0">
                  <a:pos x="T8" y="T9"/>
                </a:cxn>
              </a:cxnLst>
              <a:rect l="0" t="0" r="r" b="b"/>
              <a:pathLst>
                <a:path w="201" h="201">
                  <a:moveTo>
                    <a:pt x="85" y="8"/>
                  </a:moveTo>
                  <a:cubicBezTo>
                    <a:pt x="34" y="17"/>
                    <a:pt x="0" y="65"/>
                    <a:pt x="8" y="116"/>
                  </a:cubicBezTo>
                  <a:cubicBezTo>
                    <a:pt x="17" y="167"/>
                    <a:pt x="65" y="201"/>
                    <a:pt x="116" y="192"/>
                  </a:cubicBezTo>
                  <a:cubicBezTo>
                    <a:pt x="167" y="184"/>
                    <a:pt x="201" y="135"/>
                    <a:pt x="193" y="85"/>
                  </a:cubicBezTo>
                  <a:cubicBezTo>
                    <a:pt x="184" y="34"/>
                    <a:pt x="136" y="0"/>
                    <a:pt x="85"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83">
              <a:extLst>
                <a:ext uri="{FF2B5EF4-FFF2-40B4-BE49-F238E27FC236}">
                  <a16:creationId xmlns:a16="http://schemas.microsoft.com/office/drawing/2014/main" id="{C4404252-8D49-4F7A-ABC0-5C719DE5C197}"/>
                </a:ext>
              </a:extLst>
            </p:cNvPr>
            <p:cNvSpPr>
              <a:spLocks/>
            </p:cNvSpPr>
            <p:nvPr/>
          </p:nvSpPr>
          <p:spPr bwMode="auto">
            <a:xfrm>
              <a:off x="6710363" y="3559175"/>
              <a:ext cx="193675" cy="153988"/>
            </a:xfrm>
            <a:custGeom>
              <a:avLst/>
              <a:gdLst>
                <a:gd name="T0" fmla="*/ 174 w 254"/>
                <a:gd name="T1" fmla="*/ 0 h 202"/>
                <a:gd name="T2" fmla="*/ 24 w 254"/>
                <a:gd name="T3" fmla="*/ 109 h 202"/>
                <a:gd name="T4" fmla="*/ 22 w 254"/>
                <a:gd name="T5" fmla="*/ 166 h 202"/>
                <a:gd name="T6" fmla="*/ 76 w 254"/>
                <a:gd name="T7" fmla="*/ 190 h 202"/>
                <a:gd name="T8" fmla="*/ 254 w 254"/>
                <a:gd name="T9" fmla="*/ 86 h 202"/>
                <a:gd name="T10" fmla="*/ 174 w 254"/>
                <a:gd name="T11" fmla="*/ 0 h 202"/>
              </a:gdLst>
              <a:ahLst/>
              <a:cxnLst>
                <a:cxn ang="0">
                  <a:pos x="T0" y="T1"/>
                </a:cxn>
                <a:cxn ang="0">
                  <a:pos x="T2" y="T3"/>
                </a:cxn>
                <a:cxn ang="0">
                  <a:pos x="T4" y="T5"/>
                </a:cxn>
                <a:cxn ang="0">
                  <a:pos x="T6" y="T7"/>
                </a:cxn>
                <a:cxn ang="0">
                  <a:pos x="T8" y="T9"/>
                </a:cxn>
                <a:cxn ang="0">
                  <a:pos x="T10" y="T11"/>
                </a:cxn>
              </a:cxnLst>
              <a:rect l="0" t="0" r="r" b="b"/>
              <a:pathLst>
                <a:path w="254" h="202">
                  <a:moveTo>
                    <a:pt x="174" y="0"/>
                  </a:moveTo>
                  <a:lnTo>
                    <a:pt x="24" y="109"/>
                  </a:lnTo>
                  <a:cubicBezTo>
                    <a:pt x="24" y="109"/>
                    <a:pt x="0" y="131"/>
                    <a:pt x="22" y="166"/>
                  </a:cubicBezTo>
                  <a:cubicBezTo>
                    <a:pt x="45" y="202"/>
                    <a:pt x="76" y="190"/>
                    <a:pt x="76" y="190"/>
                  </a:cubicBezTo>
                  <a:lnTo>
                    <a:pt x="254" y="86"/>
                  </a:lnTo>
                  <a:cubicBezTo>
                    <a:pt x="232" y="63"/>
                    <a:pt x="197" y="26"/>
                    <a:pt x="17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84">
              <a:extLst>
                <a:ext uri="{FF2B5EF4-FFF2-40B4-BE49-F238E27FC236}">
                  <a16:creationId xmlns:a16="http://schemas.microsoft.com/office/drawing/2014/main" id="{FD5C8909-5DE5-4C3E-A7BA-AAAD1A187509}"/>
                </a:ext>
              </a:extLst>
            </p:cNvPr>
            <p:cNvSpPr>
              <a:spLocks/>
            </p:cNvSpPr>
            <p:nvPr/>
          </p:nvSpPr>
          <p:spPr bwMode="auto">
            <a:xfrm>
              <a:off x="6688138" y="3116263"/>
              <a:ext cx="465138" cy="690563"/>
            </a:xfrm>
            <a:custGeom>
              <a:avLst/>
              <a:gdLst>
                <a:gd name="T0" fmla="*/ 162 w 610"/>
                <a:gd name="T1" fmla="*/ 358 h 907"/>
                <a:gd name="T2" fmla="*/ 198 w 610"/>
                <a:gd name="T3" fmla="*/ 495 h 907"/>
                <a:gd name="T4" fmla="*/ 220 w 610"/>
                <a:gd name="T5" fmla="*/ 544 h 907"/>
                <a:gd name="T6" fmla="*/ 332 w 610"/>
                <a:gd name="T7" fmla="*/ 664 h 907"/>
                <a:gd name="T8" fmla="*/ 245 w 610"/>
                <a:gd name="T9" fmla="*/ 842 h 907"/>
                <a:gd name="T10" fmla="*/ 268 w 610"/>
                <a:gd name="T11" fmla="*/ 895 h 907"/>
                <a:gd name="T12" fmla="*/ 328 w 610"/>
                <a:gd name="T13" fmla="*/ 888 h 907"/>
                <a:gd name="T14" fmla="*/ 462 w 610"/>
                <a:gd name="T15" fmla="*/ 667 h 907"/>
                <a:gd name="T16" fmla="*/ 463 w 610"/>
                <a:gd name="T17" fmla="*/ 631 h 907"/>
                <a:gd name="T18" fmla="*/ 372 w 610"/>
                <a:gd name="T19" fmla="*/ 464 h 907"/>
                <a:gd name="T20" fmla="*/ 350 w 610"/>
                <a:gd name="T21" fmla="*/ 374 h 907"/>
                <a:gd name="T22" fmla="*/ 579 w 610"/>
                <a:gd name="T23" fmla="*/ 202 h 907"/>
                <a:gd name="T24" fmla="*/ 594 w 610"/>
                <a:gd name="T25" fmla="*/ 135 h 907"/>
                <a:gd name="T26" fmla="*/ 531 w 610"/>
                <a:gd name="T27" fmla="*/ 132 h 907"/>
                <a:gd name="T28" fmla="*/ 269 w 610"/>
                <a:gd name="T29" fmla="*/ 244 h 907"/>
                <a:gd name="T30" fmla="*/ 84 w 610"/>
                <a:gd name="T31" fmla="*/ 34 h 907"/>
                <a:gd name="T32" fmla="*/ 25 w 610"/>
                <a:gd name="T33" fmla="*/ 7 h 907"/>
                <a:gd name="T34" fmla="*/ 5 w 610"/>
                <a:gd name="T35" fmla="*/ 73 h 907"/>
                <a:gd name="T36" fmla="*/ 162 w 610"/>
                <a:gd name="T37" fmla="*/ 358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0" h="907">
                  <a:moveTo>
                    <a:pt x="162" y="358"/>
                  </a:moveTo>
                  <a:cubicBezTo>
                    <a:pt x="173" y="400"/>
                    <a:pt x="190" y="468"/>
                    <a:pt x="198" y="495"/>
                  </a:cubicBezTo>
                  <a:cubicBezTo>
                    <a:pt x="206" y="525"/>
                    <a:pt x="207" y="528"/>
                    <a:pt x="220" y="544"/>
                  </a:cubicBezTo>
                  <a:cubicBezTo>
                    <a:pt x="248" y="578"/>
                    <a:pt x="332" y="664"/>
                    <a:pt x="332" y="664"/>
                  </a:cubicBezTo>
                  <a:lnTo>
                    <a:pt x="245" y="842"/>
                  </a:lnTo>
                  <a:cubicBezTo>
                    <a:pt x="245" y="842"/>
                    <a:pt x="232" y="875"/>
                    <a:pt x="268" y="895"/>
                  </a:cubicBezTo>
                  <a:cubicBezTo>
                    <a:pt x="289" y="907"/>
                    <a:pt x="313" y="907"/>
                    <a:pt x="328" y="888"/>
                  </a:cubicBezTo>
                  <a:lnTo>
                    <a:pt x="462" y="667"/>
                  </a:lnTo>
                  <a:cubicBezTo>
                    <a:pt x="468" y="657"/>
                    <a:pt x="468" y="641"/>
                    <a:pt x="463" y="631"/>
                  </a:cubicBezTo>
                  <a:lnTo>
                    <a:pt x="372" y="464"/>
                  </a:lnTo>
                  <a:lnTo>
                    <a:pt x="350" y="374"/>
                  </a:lnTo>
                  <a:cubicBezTo>
                    <a:pt x="350" y="374"/>
                    <a:pt x="484" y="339"/>
                    <a:pt x="579" y="202"/>
                  </a:cubicBezTo>
                  <a:cubicBezTo>
                    <a:pt x="595" y="182"/>
                    <a:pt x="610" y="151"/>
                    <a:pt x="594" y="135"/>
                  </a:cubicBezTo>
                  <a:cubicBezTo>
                    <a:pt x="571" y="111"/>
                    <a:pt x="545" y="117"/>
                    <a:pt x="531" y="132"/>
                  </a:cubicBezTo>
                  <a:cubicBezTo>
                    <a:pt x="439" y="227"/>
                    <a:pt x="363" y="263"/>
                    <a:pt x="269" y="244"/>
                  </a:cubicBezTo>
                  <a:cubicBezTo>
                    <a:pt x="138" y="219"/>
                    <a:pt x="106" y="101"/>
                    <a:pt x="84" y="34"/>
                  </a:cubicBezTo>
                  <a:cubicBezTo>
                    <a:pt x="74" y="5"/>
                    <a:pt x="43" y="0"/>
                    <a:pt x="25" y="7"/>
                  </a:cubicBezTo>
                  <a:cubicBezTo>
                    <a:pt x="4" y="16"/>
                    <a:pt x="0" y="48"/>
                    <a:pt x="5" y="73"/>
                  </a:cubicBezTo>
                  <a:cubicBezTo>
                    <a:pt x="34" y="239"/>
                    <a:pt x="139" y="334"/>
                    <a:pt x="162" y="35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85">
              <a:extLst>
                <a:ext uri="{FF2B5EF4-FFF2-40B4-BE49-F238E27FC236}">
                  <a16:creationId xmlns:a16="http://schemas.microsoft.com/office/drawing/2014/main" id="{BF27B4EB-B71B-4E15-AB02-5A4605A436AC}"/>
                </a:ext>
              </a:extLst>
            </p:cNvPr>
            <p:cNvSpPr>
              <a:spLocks/>
            </p:cNvSpPr>
            <p:nvPr/>
          </p:nvSpPr>
          <p:spPr bwMode="auto">
            <a:xfrm>
              <a:off x="6823075" y="3114675"/>
              <a:ext cx="166688" cy="165100"/>
            </a:xfrm>
            <a:custGeom>
              <a:avLst/>
              <a:gdLst>
                <a:gd name="T0" fmla="*/ 10 w 217"/>
                <a:gd name="T1" fmla="*/ 91 h 217"/>
                <a:gd name="T2" fmla="*/ 92 w 217"/>
                <a:gd name="T3" fmla="*/ 207 h 217"/>
                <a:gd name="T4" fmla="*/ 208 w 217"/>
                <a:gd name="T5" fmla="*/ 125 h 217"/>
                <a:gd name="T6" fmla="*/ 126 w 217"/>
                <a:gd name="T7" fmla="*/ 9 h 217"/>
                <a:gd name="T8" fmla="*/ 10 w 217"/>
                <a:gd name="T9" fmla="*/ 91 h 217"/>
              </a:gdLst>
              <a:ahLst/>
              <a:cxnLst>
                <a:cxn ang="0">
                  <a:pos x="T0" y="T1"/>
                </a:cxn>
                <a:cxn ang="0">
                  <a:pos x="T2" y="T3"/>
                </a:cxn>
                <a:cxn ang="0">
                  <a:pos x="T4" y="T5"/>
                </a:cxn>
                <a:cxn ang="0">
                  <a:pos x="T6" y="T7"/>
                </a:cxn>
                <a:cxn ang="0">
                  <a:pos x="T8" y="T9"/>
                </a:cxn>
              </a:cxnLst>
              <a:rect l="0" t="0" r="r" b="b"/>
              <a:pathLst>
                <a:path w="217" h="217">
                  <a:moveTo>
                    <a:pt x="10" y="91"/>
                  </a:moveTo>
                  <a:cubicBezTo>
                    <a:pt x="0" y="146"/>
                    <a:pt x="37" y="198"/>
                    <a:pt x="92" y="207"/>
                  </a:cubicBezTo>
                  <a:cubicBezTo>
                    <a:pt x="146" y="217"/>
                    <a:pt x="198" y="180"/>
                    <a:pt x="208" y="125"/>
                  </a:cubicBezTo>
                  <a:cubicBezTo>
                    <a:pt x="217" y="71"/>
                    <a:pt x="180" y="19"/>
                    <a:pt x="126" y="9"/>
                  </a:cubicBezTo>
                  <a:cubicBezTo>
                    <a:pt x="71" y="0"/>
                    <a:pt x="19" y="37"/>
                    <a:pt x="10" y="9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3849533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90E48-2A4E-D12F-204D-353315386579}"/>
              </a:ext>
            </a:extLst>
          </p:cNvPr>
          <p:cNvSpPr>
            <a:spLocks noGrp="1"/>
          </p:cNvSpPr>
          <p:nvPr>
            <p:ph type="title"/>
          </p:nvPr>
        </p:nvSpPr>
        <p:spPr/>
        <p:txBody>
          <a:bodyPr>
            <a:normAutofit fontScale="90000"/>
          </a:bodyPr>
          <a:lstStyle/>
          <a:p>
            <a:r>
              <a:rPr lang="mn-MN" dirty="0"/>
              <a:t>ХҮНСНИЙ ҮЙЛДВЭРЛЭЛ, ҮЙЛЧИЛГЭЭНИЙ БАЙГУУЛЛАГУУД </a:t>
            </a:r>
            <a:r>
              <a:rPr lang="en-GB" dirty="0"/>
              <a:t>– </a:t>
            </a:r>
            <a:r>
              <a:rPr lang="mn-MN" dirty="0"/>
              <a:t>НЭГЖ ҮЙЛЧЛҮҮЛЭГЧИД НОГДОХ ХАЯГДЛЫН ХЭМЖЭЭ</a:t>
            </a:r>
            <a:endParaRPr lang="en-GB" dirty="0"/>
          </a:p>
        </p:txBody>
      </p:sp>
      <p:sp>
        <p:nvSpPr>
          <p:cNvPr id="4" name="Slide Number Placeholder 3">
            <a:extLst>
              <a:ext uri="{FF2B5EF4-FFF2-40B4-BE49-F238E27FC236}">
                <a16:creationId xmlns:a16="http://schemas.microsoft.com/office/drawing/2014/main" id="{7FCED68C-09EF-A8E0-8D9E-34D223A8A25F}"/>
              </a:ext>
            </a:extLst>
          </p:cNvPr>
          <p:cNvSpPr>
            <a:spLocks noGrp="1"/>
          </p:cNvSpPr>
          <p:nvPr>
            <p:ph type="sldNum" sz="quarter" idx="12"/>
          </p:nvPr>
        </p:nvSpPr>
        <p:spPr/>
        <p:txBody>
          <a:bodyPr/>
          <a:lstStyle/>
          <a:p>
            <a:fld id="{22BD14A0-459B-CA46-A763-3163F186A6C2}" type="slidenum">
              <a:rPr lang="en-US" smtClean="0"/>
              <a:t>30</a:t>
            </a:fld>
            <a:endParaRPr lang="en-US"/>
          </a:p>
        </p:txBody>
      </p:sp>
      <p:sp>
        <p:nvSpPr>
          <p:cNvPr id="7" name="TextBox 6">
            <a:extLst>
              <a:ext uri="{FF2B5EF4-FFF2-40B4-BE49-F238E27FC236}">
                <a16:creationId xmlns:a16="http://schemas.microsoft.com/office/drawing/2014/main" id="{BB632D24-6548-D340-72AE-1D0C917B34E0}"/>
              </a:ext>
            </a:extLst>
          </p:cNvPr>
          <p:cNvSpPr txBox="1"/>
          <p:nvPr/>
        </p:nvSpPr>
        <p:spPr>
          <a:xfrm>
            <a:off x="485553" y="2808122"/>
            <a:ext cx="3531516" cy="2337884"/>
          </a:xfrm>
          <a:prstGeom prst="rect">
            <a:avLst/>
          </a:prstGeom>
          <a:noFill/>
        </p:spPr>
        <p:txBody>
          <a:bodyPr wrap="square" rtlCol="0">
            <a:spAutoFit/>
          </a:bodyPr>
          <a:lstStyle/>
          <a:p>
            <a:pPr algn="ctr">
              <a:lnSpc>
                <a:spcPct val="150000"/>
              </a:lnSpc>
            </a:pPr>
            <a:r>
              <a:rPr lang="mn-MN" sz="2000" dirty="0">
                <a:solidFill>
                  <a:schemeClr val="accent4">
                    <a:lumMod val="75000"/>
                  </a:schemeClr>
                </a:solidFill>
              </a:rPr>
              <a:t>Цайны газар, гуанз, түргэн хоолны газар нь нэг үйлчлүүлэгчийн хувьд хүнсний хаягдал хамгийн ихээр гаргаж байна</a:t>
            </a:r>
            <a:endParaRPr lang="en-GB" sz="2000" dirty="0">
              <a:solidFill>
                <a:schemeClr val="accent4">
                  <a:lumMod val="75000"/>
                </a:schemeClr>
              </a:solidFill>
            </a:endParaRPr>
          </a:p>
        </p:txBody>
      </p:sp>
      <p:pic>
        <p:nvPicPr>
          <p:cNvPr id="9" name="Picture 8">
            <a:extLst>
              <a:ext uri="{FF2B5EF4-FFF2-40B4-BE49-F238E27FC236}">
                <a16:creationId xmlns:a16="http://schemas.microsoft.com/office/drawing/2014/main" id="{AA310882-24F3-4523-AF2C-4C9E7AEDF946}"/>
              </a:ext>
            </a:extLst>
          </p:cNvPr>
          <p:cNvPicPr>
            <a:picLocks noChangeAspect="1"/>
          </p:cNvPicPr>
          <p:nvPr/>
        </p:nvPicPr>
        <p:blipFill>
          <a:blip r:embed="rId2"/>
          <a:stretch>
            <a:fillRect/>
          </a:stretch>
        </p:blipFill>
        <p:spPr>
          <a:xfrm>
            <a:off x="4505851" y="1692000"/>
            <a:ext cx="6948211" cy="4008918"/>
          </a:xfrm>
          <a:prstGeom prst="rect">
            <a:avLst/>
          </a:prstGeom>
        </p:spPr>
      </p:pic>
    </p:spTree>
    <p:extLst>
      <p:ext uri="{BB962C8B-B14F-4D97-AF65-F5344CB8AC3E}">
        <p14:creationId xmlns:p14="http://schemas.microsoft.com/office/powerpoint/2010/main" val="9168296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D3988-F9A2-520D-39D8-0C5ED43A7E39}"/>
              </a:ext>
            </a:extLst>
          </p:cNvPr>
          <p:cNvSpPr>
            <a:spLocks noGrp="1"/>
          </p:cNvSpPr>
          <p:nvPr>
            <p:ph type="title"/>
          </p:nvPr>
        </p:nvSpPr>
        <p:spPr>
          <a:xfrm>
            <a:off x="360000" y="360000"/>
            <a:ext cx="8039542" cy="839022"/>
          </a:xfrm>
        </p:spPr>
        <p:txBody>
          <a:bodyPr>
            <a:normAutofit fontScale="90000"/>
          </a:bodyPr>
          <a:lstStyle/>
          <a:p>
            <a:r>
              <a:rPr lang="mn-MN" dirty="0"/>
              <a:t>ЖИЖИГЛЭН ХУДАЛДААЛАН САЛБАР </a:t>
            </a:r>
            <a:r>
              <a:rPr lang="en-GB" dirty="0"/>
              <a:t>– </a:t>
            </a:r>
            <a:r>
              <a:rPr lang="mn-MN" dirty="0"/>
              <a:t>ХҮНСНИЙ НОГООНЫ ЛАНГУУНУУД</a:t>
            </a:r>
            <a:endParaRPr lang="en-GB" dirty="0"/>
          </a:p>
        </p:txBody>
      </p:sp>
      <p:sp>
        <p:nvSpPr>
          <p:cNvPr id="4" name="Slide Number Placeholder 3">
            <a:extLst>
              <a:ext uri="{FF2B5EF4-FFF2-40B4-BE49-F238E27FC236}">
                <a16:creationId xmlns:a16="http://schemas.microsoft.com/office/drawing/2014/main" id="{2541B008-C67E-CF87-4C00-95A6578B5371}"/>
              </a:ext>
            </a:extLst>
          </p:cNvPr>
          <p:cNvSpPr>
            <a:spLocks noGrp="1"/>
          </p:cNvSpPr>
          <p:nvPr>
            <p:ph type="sldNum" sz="quarter" idx="12"/>
          </p:nvPr>
        </p:nvSpPr>
        <p:spPr/>
        <p:txBody>
          <a:bodyPr/>
          <a:lstStyle/>
          <a:p>
            <a:fld id="{22BD14A0-459B-CA46-A763-3163F186A6C2}" type="slidenum">
              <a:rPr lang="en-US" smtClean="0"/>
              <a:t>31</a:t>
            </a:fld>
            <a:endParaRPr lang="en-US"/>
          </a:p>
        </p:txBody>
      </p:sp>
      <p:pic>
        <p:nvPicPr>
          <p:cNvPr id="6" name="Picture 5">
            <a:extLst>
              <a:ext uri="{FF2B5EF4-FFF2-40B4-BE49-F238E27FC236}">
                <a16:creationId xmlns:a16="http://schemas.microsoft.com/office/drawing/2014/main" id="{3B186C3E-5153-869D-488D-DC2409567172}"/>
              </a:ext>
            </a:extLst>
          </p:cNvPr>
          <p:cNvPicPr>
            <a:picLocks noChangeAspect="1"/>
          </p:cNvPicPr>
          <p:nvPr/>
        </p:nvPicPr>
        <p:blipFill>
          <a:blip r:embed="rId2"/>
          <a:stretch>
            <a:fillRect/>
          </a:stretch>
        </p:blipFill>
        <p:spPr>
          <a:xfrm>
            <a:off x="8399541" y="125601"/>
            <a:ext cx="3653571" cy="3069000"/>
          </a:xfrm>
          <a:prstGeom prst="rect">
            <a:avLst/>
          </a:prstGeom>
        </p:spPr>
      </p:pic>
      <p:pic>
        <p:nvPicPr>
          <p:cNvPr id="8" name="Picture 7">
            <a:extLst>
              <a:ext uri="{FF2B5EF4-FFF2-40B4-BE49-F238E27FC236}">
                <a16:creationId xmlns:a16="http://schemas.microsoft.com/office/drawing/2014/main" id="{AE655080-2293-BF97-993B-9E428318B272}"/>
              </a:ext>
            </a:extLst>
          </p:cNvPr>
          <p:cNvPicPr>
            <a:picLocks noChangeAspect="1"/>
          </p:cNvPicPr>
          <p:nvPr/>
        </p:nvPicPr>
        <p:blipFill>
          <a:blip r:embed="rId3"/>
          <a:stretch>
            <a:fillRect/>
          </a:stretch>
        </p:blipFill>
        <p:spPr>
          <a:xfrm rot="5400000">
            <a:off x="8924776" y="2871866"/>
            <a:ext cx="2598531" cy="3649001"/>
          </a:xfrm>
          <a:prstGeom prst="rect">
            <a:avLst/>
          </a:prstGeom>
        </p:spPr>
      </p:pic>
      <p:pic>
        <p:nvPicPr>
          <p:cNvPr id="5" name="Picture 4">
            <a:extLst>
              <a:ext uri="{FF2B5EF4-FFF2-40B4-BE49-F238E27FC236}">
                <a16:creationId xmlns:a16="http://schemas.microsoft.com/office/drawing/2014/main" id="{82D3FD5C-7820-4985-B69D-F0B517B9678C}"/>
              </a:ext>
            </a:extLst>
          </p:cNvPr>
          <p:cNvPicPr>
            <a:picLocks noChangeAspect="1"/>
          </p:cNvPicPr>
          <p:nvPr/>
        </p:nvPicPr>
        <p:blipFill>
          <a:blip r:embed="rId4"/>
          <a:stretch>
            <a:fillRect/>
          </a:stretch>
        </p:blipFill>
        <p:spPr>
          <a:xfrm>
            <a:off x="360000" y="1660101"/>
            <a:ext cx="7582995" cy="3854241"/>
          </a:xfrm>
          <a:prstGeom prst="rect">
            <a:avLst/>
          </a:prstGeom>
        </p:spPr>
      </p:pic>
    </p:spTree>
    <p:extLst>
      <p:ext uri="{BB962C8B-B14F-4D97-AF65-F5344CB8AC3E}">
        <p14:creationId xmlns:p14="http://schemas.microsoft.com/office/powerpoint/2010/main" val="36774259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EADED-B9AF-3750-A6B7-C5E4A980EBBC}"/>
              </a:ext>
            </a:extLst>
          </p:cNvPr>
          <p:cNvSpPr>
            <a:spLocks noGrp="1"/>
          </p:cNvSpPr>
          <p:nvPr>
            <p:ph type="title"/>
          </p:nvPr>
        </p:nvSpPr>
        <p:spPr/>
        <p:txBody>
          <a:bodyPr/>
          <a:lstStyle/>
          <a:p>
            <a:r>
              <a:rPr lang="mn-MN" dirty="0"/>
              <a:t>НЭГ ЖИЛД ХАЯГДАХ ХҮНСНИЙ ХАЯГДАЛ</a:t>
            </a:r>
            <a:r>
              <a:rPr lang="en-GB" dirty="0"/>
              <a:t>?</a:t>
            </a:r>
          </a:p>
        </p:txBody>
      </p:sp>
      <p:sp>
        <p:nvSpPr>
          <p:cNvPr id="4" name="Slide Number Placeholder 3">
            <a:extLst>
              <a:ext uri="{FF2B5EF4-FFF2-40B4-BE49-F238E27FC236}">
                <a16:creationId xmlns:a16="http://schemas.microsoft.com/office/drawing/2014/main" id="{82B74F42-BAEC-87DA-83E6-CA17593C135A}"/>
              </a:ext>
            </a:extLst>
          </p:cNvPr>
          <p:cNvSpPr>
            <a:spLocks noGrp="1"/>
          </p:cNvSpPr>
          <p:nvPr>
            <p:ph type="sldNum" sz="quarter" idx="12"/>
          </p:nvPr>
        </p:nvSpPr>
        <p:spPr/>
        <p:txBody>
          <a:bodyPr/>
          <a:lstStyle/>
          <a:p>
            <a:fld id="{22BD14A0-459B-CA46-A763-3163F186A6C2}" type="slidenum">
              <a:rPr lang="en-US" smtClean="0"/>
              <a:t>32</a:t>
            </a:fld>
            <a:endParaRPr lang="en-US"/>
          </a:p>
        </p:txBody>
      </p:sp>
      <p:grpSp>
        <p:nvGrpSpPr>
          <p:cNvPr id="3" name="Group 2">
            <a:extLst>
              <a:ext uri="{FF2B5EF4-FFF2-40B4-BE49-F238E27FC236}">
                <a16:creationId xmlns:a16="http://schemas.microsoft.com/office/drawing/2014/main" id="{7776C95B-392B-DA40-4D04-51C6D77463D3}"/>
              </a:ext>
            </a:extLst>
          </p:cNvPr>
          <p:cNvGrpSpPr/>
          <p:nvPr/>
        </p:nvGrpSpPr>
        <p:grpSpPr>
          <a:xfrm>
            <a:off x="8010526" y="1639800"/>
            <a:ext cx="3555275" cy="2091844"/>
            <a:chOff x="8010525" y="1674257"/>
            <a:chExt cx="3555275" cy="2091844"/>
          </a:xfrm>
        </p:grpSpPr>
        <p:sp>
          <p:nvSpPr>
            <p:cNvPr id="7" name="TextBox 6">
              <a:extLst>
                <a:ext uri="{FF2B5EF4-FFF2-40B4-BE49-F238E27FC236}">
                  <a16:creationId xmlns:a16="http://schemas.microsoft.com/office/drawing/2014/main" id="{B61022BF-2548-93BF-766A-EC8A04C0A010}"/>
                </a:ext>
              </a:extLst>
            </p:cNvPr>
            <p:cNvSpPr txBox="1"/>
            <p:nvPr/>
          </p:nvSpPr>
          <p:spPr>
            <a:xfrm>
              <a:off x="8010525" y="1674257"/>
              <a:ext cx="3555275" cy="400110"/>
            </a:xfrm>
            <a:prstGeom prst="rect">
              <a:avLst/>
            </a:prstGeom>
            <a:noFill/>
          </p:spPr>
          <p:txBody>
            <a:bodyPr wrap="square" rtlCol="0">
              <a:spAutoFit/>
            </a:bodyPr>
            <a:lstStyle/>
            <a:p>
              <a:pPr algn="ctr"/>
              <a:r>
                <a:rPr lang="mn-MN" sz="2000" b="1" dirty="0">
                  <a:solidFill>
                    <a:schemeClr val="accent5">
                      <a:lumMod val="25000"/>
                    </a:schemeClr>
                  </a:solidFill>
                </a:rPr>
                <a:t>Жил бүр </a:t>
              </a:r>
              <a:r>
                <a:rPr lang="en-GB" sz="2000" b="1" dirty="0">
                  <a:solidFill>
                    <a:schemeClr val="accent5">
                      <a:lumMod val="25000"/>
                    </a:schemeClr>
                  </a:solidFill>
                </a:rPr>
                <a:t>32</a:t>
              </a:r>
              <a:r>
                <a:rPr lang="mn-MN" sz="2000" b="1" dirty="0">
                  <a:solidFill>
                    <a:schemeClr val="accent5">
                      <a:lumMod val="25000"/>
                    </a:schemeClr>
                  </a:solidFill>
                </a:rPr>
                <a:t>0</a:t>
              </a:r>
              <a:r>
                <a:rPr lang="en-GB" sz="2000" b="1" dirty="0">
                  <a:solidFill>
                    <a:schemeClr val="accent5">
                      <a:lumMod val="25000"/>
                    </a:schemeClr>
                  </a:solidFill>
                </a:rPr>
                <a:t>,000 </a:t>
              </a:r>
              <a:r>
                <a:rPr lang="mn-MN" sz="2000" b="1" dirty="0">
                  <a:solidFill>
                    <a:schemeClr val="accent5">
                      <a:lumMod val="25000"/>
                    </a:schemeClr>
                  </a:solidFill>
                </a:rPr>
                <a:t>тонн</a:t>
              </a:r>
              <a:endParaRPr lang="en-GB" sz="2000" b="1" dirty="0">
                <a:solidFill>
                  <a:schemeClr val="accent5">
                    <a:lumMod val="25000"/>
                  </a:schemeClr>
                </a:solidFill>
              </a:endParaRPr>
            </a:p>
          </p:txBody>
        </p:sp>
        <p:sp>
          <p:nvSpPr>
            <p:cNvPr id="9" name="TextBox 8">
              <a:extLst>
                <a:ext uri="{FF2B5EF4-FFF2-40B4-BE49-F238E27FC236}">
                  <a16:creationId xmlns:a16="http://schemas.microsoft.com/office/drawing/2014/main" id="{AEECF3CC-D71E-15AC-9431-8DC5AE2AEA9C}"/>
                </a:ext>
              </a:extLst>
            </p:cNvPr>
            <p:cNvSpPr txBox="1"/>
            <p:nvPr/>
          </p:nvSpPr>
          <p:spPr>
            <a:xfrm>
              <a:off x="8040204" y="2387916"/>
              <a:ext cx="3441642" cy="707886"/>
            </a:xfrm>
            <a:prstGeom prst="rect">
              <a:avLst/>
            </a:prstGeom>
            <a:noFill/>
          </p:spPr>
          <p:txBody>
            <a:bodyPr wrap="square" rtlCol="0">
              <a:spAutoFit/>
            </a:bodyPr>
            <a:lstStyle/>
            <a:p>
              <a:pPr algn="ctr"/>
              <a:r>
                <a:rPr lang="mn-MN" sz="2000" b="1" dirty="0">
                  <a:solidFill>
                    <a:schemeClr val="accent5">
                      <a:lumMod val="25000"/>
                    </a:schemeClr>
                  </a:solidFill>
                </a:rPr>
                <a:t>Энэ нь </a:t>
              </a:r>
              <a:r>
                <a:rPr lang="en-GB" sz="2000" b="1" dirty="0">
                  <a:solidFill>
                    <a:schemeClr val="accent5">
                      <a:lumMod val="25000"/>
                    </a:schemeClr>
                  </a:solidFill>
                </a:rPr>
                <a:t>20,000 </a:t>
              </a:r>
              <a:r>
                <a:rPr lang="mn-MN" sz="2000" b="1" dirty="0">
                  <a:solidFill>
                    <a:schemeClr val="accent5">
                      <a:lumMod val="25000"/>
                    </a:schemeClr>
                  </a:solidFill>
                </a:rPr>
                <a:t>машины жинтэй тэнцэх юм</a:t>
              </a:r>
              <a:r>
                <a:rPr lang="en-GB" sz="2000" b="1" dirty="0">
                  <a:solidFill>
                    <a:schemeClr val="accent5">
                      <a:lumMod val="25000"/>
                    </a:schemeClr>
                  </a:solidFill>
                </a:rPr>
                <a:t>!</a:t>
              </a:r>
            </a:p>
          </p:txBody>
        </p:sp>
        <p:pic>
          <p:nvPicPr>
            <p:cNvPr id="12" name="Graphic 11" descr="Car with solid fill">
              <a:extLst>
                <a:ext uri="{FF2B5EF4-FFF2-40B4-BE49-F238E27FC236}">
                  <a16:creationId xmlns:a16="http://schemas.microsoft.com/office/drawing/2014/main" id="{804D9DBF-C34E-419B-9A75-4E586CC2ADF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30962" y="3010586"/>
              <a:ext cx="914400" cy="755515"/>
            </a:xfrm>
            <a:prstGeom prst="rect">
              <a:avLst/>
            </a:prstGeom>
          </p:spPr>
        </p:pic>
      </p:grpSp>
      <p:sp>
        <p:nvSpPr>
          <p:cNvPr id="5" name="TextBox 4">
            <a:extLst>
              <a:ext uri="{FF2B5EF4-FFF2-40B4-BE49-F238E27FC236}">
                <a16:creationId xmlns:a16="http://schemas.microsoft.com/office/drawing/2014/main" id="{D230C1A4-36BB-C01C-C98C-8B098075FF73}"/>
              </a:ext>
            </a:extLst>
          </p:cNvPr>
          <p:cNvSpPr txBox="1"/>
          <p:nvPr/>
        </p:nvSpPr>
        <p:spPr>
          <a:xfrm>
            <a:off x="8040205" y="3731644"/>
            <a:ext cx="3698080" cy="2113399"/>
          </a:xfrm>
          <a:prstGeom prst="rect">
            <a:avLst/>
          </a:prstGeom>
          <a:noFill/>
        </p:spPr>
        <p:txBody>
          <a:bodyPr wrap="square" rtlCol="0">
            <a:spAutoFit/>
          </a:bodyPr>
          <a:lstStyle/>
          <a:p>
            <a:pPr algn="ctr">
              <a:lnSpc>
                <a:spcPct val="150000"/>
              </a:lnSpc>
            </a:pPr>
            <a:r>
              <a:rPr lang="mn-MN" dirty="0">
                <a:solidFill>
                  <a:schemeClr val="accent2">
                    <a:lumMod val="75000"/>
                  </a:schemeClr>
                </a:solidFill>
              </a:rPr>
              <a:t>Хүнсний хаягдлын чанар, тоо хэмжээ нь салбараас хамаарч янз бүр байгаа нь хүнсний хаягдлын менежментийн онцлог байдлыг илтгэж байгаа юм</a:t>
            </a:r>
            <a:r>
              <a:rPr lang="en-GB" dirty="0">
                <a:solidFill>
                  <a:schemeClr val="accent2">
                    <a:lumMod val="75000"/>
                  </a:schemeClr>
                </a:solidFill>
              </a:rPr>
              <a:t>!</a:t>
            </a:r>
          </a:p>
        </p:txBody>
      </p:sp>
      <p:pic>
        <p:nvPicPr>
          <p:cNvPr id="14" name="Picture 13">
            <a:extLst>
              <a:ext uri="{FF2B5EF4-FFF2-40B4-BE49-F238E27FC236}">
                <a16:creationId xmlns:a16="http://schemas.microsoft.com/office/drawing/2014/main" id="{D5EFC8C6-B2DF-45CE-876A-F8F097CD96CB}"/>
              </a:ext>
            </a:extLst>
          </p:cNvPr>
          <p:cNvPicPr>
            <a:picLocks noChangeAspect="1"/>
          </p:cNvPicPr>
          <p:nvPr/>
        </p:nvPicPr>
        <p:blipFill>
          <a:blip r:embed="rId5"/>
          <a:stretch>
            <a:fillRect/>
          </a:stretch>
        </p:blipFill>
        <p:spPr>
          <a:xfrm>
            <a:off x="453715" y="1423294"/>
            <a:ext cx="7131561" cy="3738253"/>
          </a:xfrm>
          <a:prstGeom prst="rect">
            <a:avLst/>
          </a:prstGeom>
        </p:spPr>
      </p:pic>
    </p:spTree>
    <p:extLst>
      <p:ext uri="{BB962C8B-B14F-4D97-AF65-F5344CB8AC3E}">
        <p14:creationId xmlns:p14="http://schemas.microsoft.com/office/powerpoint/2010/main" val="3773146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3EEAE87-F0E1-184B-3DBF-65E4426FA31C}"/>
              </a:ext>
            </a:extLst>
          </p:cNvPr>
          <p:cNvSpPr>
            <a:spLocks noGrp="1"/>
          </p:cNvSpPr>
          <p:nvPr>
            <p:ph type="title"/>
          </p:nvPr>
        </p:nvSpPr>
        <p:spPr/>
        <p:txBody>
          <a:bodyPr/>
          <a:lstStyle/>
          <a:p>
            <a:r>
              <a:rPr lang="mn-MN" dirty="0"/>
              <a:t>НЭМЭЛТ СУДАЛГАА</a:t>
            </a:r>
            <a:endParaRPr lang="en-GB" dirty="0"/>
          </a:p>
        </p:txBody>
      </p:sp>
      <p:sp>
        <p:nvSpPr>
          <p:cNvPr id="4" name="Slide Number Placeholder 3">
            <a:extLst>
              <a:ext uri="{FF2B5EF4-FFF2-40B4-BE49-F238E27FC236}">
                <a16:creationId xmlns:a16="http://schemas.microsoft.com/office/drawing/2014/main" id="{9EBF9885-0E76-2FD0-48D9-3BE90AC382FF}"/>
              </a:ext>
            </a:extLst>
          </p:cNvPr>
          <p:cNvSpPr>
            <a:spLocks noGrp="1"/>
          </p:cNvSpPr>
          <p:nvPr>
            <p:ph type="sldNum" sz="quarter" idx="12"/>
          </p:nvPr>
        </p:nvSpPr>
        <p:spPr/>
        <p:txBody>
          <a:bodyPr/>
          <a:lstStyle/>
          <a:p>
            <a:fld id="{22BD14A0-459B-CA46-A763-3163F186A6C2}" type="slidenum">
              <a:rPr lang="en-US" smtClean="0"/>
              <a:t>33</a:t>
            </a:fld>
            <a:endParaRPr lang="en-US"/>
          </a:p>
        </p:txBody>
      </p:sp>
      <p:grpSp>
        <p:nvGrpSpPr>
          <p:cNvPr id="13" name="Group 12">
            <a:extLst>
              <a:ext uri="{FF2B5EF4-FFF2-40B4-BE49-F238E27FC236}">
                <a16:creationId xmlns:a16="http://schemas.microsoft.com/office/drawing/2014/main" id="{06B47BC6-76CF-99AA-EEEE-F045561B8C24}"/>
              </a:ext>
            </a:extLst>
          </p:cNvPr>
          <p:cNvGrpSpPr/>
          <p:nvPr/>
        </p:nvGrpSpPr>
        <p:grpSpPr>
          <a:xfrm>
            <a:off x="1072880" y="1556619"/>
            <a:ext cx="3616420" cy="3181973"/>
            <a:chOff x="1380882" y="2146342"/>
            <a:chExt cx="3616420" cy="3181973"/>
          </a:xfrm>
        </p:grpSpPr>
        <p:graphicFrame>
          <p:nvGraphicFramePr>
            <p:cNvPr id="32" name="Table 29">
              <a:extLst>
                <a:ext uri="{FF2B5EF4-FFF2-40B4-BE49-F238E27FC236}">
                  <a16:creationId xmlns:a16="http://schemas.microsoft.com/office/drawing/2014/main" id="{37DABE42-7C99-216A-0E9E-53D866E67BA8}"/>
                </a:ext>
              </a:extLst>
            </p:cNvPr>
            <p:cNvGraphicFramePr>
              <a:graphicFrameLocks/>
            </p:cNvGraphicFramePr>
            <p:nvPr>
              <p:extLst>
                <p:ext uri="{D42A27DB-BD31-4B8C-83A1-F6EECF244321}">
                  <p14:modId xmlns:p14="http://schemas.microsoft.com/office/powerpoint/2010/main" val="3127281043"/>
                </p:ext>
              </p:extLst>
            </p:nvPr>
          </p:nvGraphicFramePr>
          <p:xfrm>
            <a:off x="1380882" y="2146342"/>
            <a:ext cx="3616420" cy="3181973"/>
          </p:xfrm>
          <a:graphic>
            <a:graphicData uri="http://schemas.openxmlformats.org/drawingml/2006/table">
              <a:tbl>
                <a:tblPr firstRow="1" bandRow="1">
                  <a:tableStyleId>{2D5ABB26-0587-4C30-8999-92F81FD0307C}</a:tableStyleId>
                </a:tblPr>
                <a:tblGrid>
                  <a:gridCol w="1808210">
                    <a:extLst>
                      <a:ext uri="{9D8B030D-6E8A-4147-A177-3AD203B41FA5}">
                        <a16:colId xmlns:a16="http://schemas.microsoft.com/office/drawing/2014/main" val="3117893545"/>
                      </a:ext>
                    </a:extLst>
                  </a:gridCol>
                  <a:gridCol w="1808210">
                    <a:extLst>
                      <a:ext uri="{9D8B030D-6E8A-4147-A177-3AD203B41FA5}">
                        <a16:colId xmlns:a16="http://schemas.microsoft.com/office/drawing/2014/main" val="2050489404"/>
                      </a:ext>
                    </a:extLst>
                  </a:gridCol>
                </a:tblGrid>
                <a:tr h="653143">
                  <a:tc>
                    <a:txBody>
                      <a:bodyPr/>
                      <a:lstStyle/>
                      <a:p>
                        <a:endParaRPr lang="en-GB" dirty="0"/>
                      </a:p>
                    </a:txBody>
                    <a:tcPr>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ctr"/>
                        <a:r>
                          <a:rPr lang="en-GB" b="1" dirty="0">
                            <a:solidFill>
                              <a:schemeClr val="accent2">
                                <a:lumMod val="75000"/>
                              </a:schemeClr>
                            </a:solidFill>
                          </a:rPr>
                          <a:t>2021</a:t>
                        </a:r>
                        <a:r>
                          <a:rPr lang="mn-MN" b="1" dirty="0">
                            <a:solidFill>
                              <a:schemeClr val="accent2">
                                <a:lumMod val="75000"/>
                              </a:schemeClr>
                            </a:solidFill>
                          </a:rPr>
                          <a:t> ОНЫ НАМАР</a:t>
                        </a:r>
                        <a:endParaRPr lang="en-GB" b="1" dirty="0">
                          <a:solidFill>
                            <a:schemeClr val="accent2">
                              <a:lumMod val="75000"/>
                            </a:schemeClr>
                          </a:solidFill>
                        </a:endParaRPr>
                      </a:p>
                    </a:txBody>
                    <a:tcP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2814929511"/>
                    </a:ext>
                  </a:extLst>
                </a:tr>
                <a:tr h="1264415">
                  <a:tc>
                    <a:txBody>
                      <a:bodyPr/>
                      <a:lstStyle/>
                      <a:p>
                        <a:endParaRPr lang="en-GB" dirty="0"/>
                      </a:p>
                    </a:txBody>
                    <a:tcPr>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ctr"/>
                        <a:r>
                          <a:rPr lang="en-GB" sz="1800" dirty="0">
                            <a:solidFill>
                              <a:schemeClr val="accent2">
                                <a:lumMod val="75000"/>
                              </a:schemeClr>
                            </a:solidFill>
                          </a:rPr>
                          <a:t>522</a:t>
                        </a:r>
                      </a:p>
                    </a:txBody>
                    <a:tcPr anchor="ct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2249122628"/>
                    </a:ext>
                  </a:extLst>
                </a:tr>
                <a:tr h="1264415">
                  <a:tc>
                    <a:txBody>
                      <a:bodyPr/>
                      <a:lstStyle/>
                      <a:p>
                        <a:endParaRPr lang="en-GB" dirty="0"/>
                      </a:p>
                    </a:txBody>
                    <a:tcPr>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800" dirty="0">
                            <a:solidFill>
                              <a:schemeClr val="accent2">
                                <a:lumMod val="75000"/>
                              </a:schemeClr>
                            </a:solidFill>
                          </a:rPr>
                          <a:t>356</a:t>
                        </a:r>
                      </a:p>
                    </a:txBody>
                    <a:tcPr anchor="ct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79302355"/>
                    </a:ext>
                  </a:extLst>
                </a:tr>
              </a:tbl>
            </a:graphicData>
          </a:graphic>
        </p:graphicFrame>
        <p:sp>
          <p:nvSpPr>
            <p:cNvPr id="37" name="TextBox 36">
              <a:extLst>
                <a:ext uri="{FF2B5EF4-FFF2-40B4-BE49-F238E27FC236}">
                  <a16:creationId xmlns:a16="http://schemas.microsoft.com/office/drawing/2014/main" id="{E65DE300-E1EB-7C8D-E76F-82DAE4D52491}"/>
                </a:ext>
              </a:extLst>
            </p:cNvPr>
            <p:cNvSpPr txBox="1"/>
            <p:nvPr/>
          </p:nvSpPr>
          <p:spPr>
            <a:xfrm>
              <a:off x="1380883" y="3722821"/>
              <a:ext cx="1629290" cy="338554"/>
            </a:xfrm>
            <a:prstGeom prst="rect">
              <a:avLst/>
            </a:prstGeom>
            <a:noFill/>
          </p:spPr>
          <p:txBody>
            <a:bodyPr wrap="square" rtlCol="0">
              <a:spAutoFit/>
            </a:bodyPr>
            <a:lstStyle/>
            <a:p>
              <a:pPr algn="ctr"/>
              <a:r>
                <a:rPr lang="mn-MN" sz="1600" dirty="0">
                  <a:solidFill>
                    <a:schemeClr val="accent2">
                      <a:lumMod val="75000"/>
                    </a:schemeClr>
                  </a:solidFill>
                </a:rPr>
                <a:t>ЦАХИМААР</a:t>
              </a:r>
              <a:endParaRPr lang="en-GB" sz="1600" dirty="0">
                <a:solidFill>
                  <a:schemeClr val="accent2">
                    <a:lumMod val="75000"/>
                  </a:schemeClr>
                </a:solidFill>
              </a:endParaRPr>
            </a:p>
          </p:txBody>
        </p:sp>
        <p:sp>
          <p:nvSpPr>
            <p:cNvPr id="38" name="TextBox 37">
              <a:extLst>
                <a:ext uri="{FF2B5EF4-FFF2-40B4-BE49-F238E27FC236}">
                  <a16:creationId xmlns:a16="http://schemas.microsoft.com/office/drawing/2014/main" id="{0DEA9CA3-0C74-7636-38C6-1467FC92632B}"/>
                </a:ext>
              </a:extLst>
            </p:cNvPr>
            <p:cNvSpPr txBox="1"/>
            <p:nvPr/>
          </p:nvSpPr>
          <p:spPr>
            <a:xfrm>
              <a:off x="1380883" y="4989761"/>
              <a:ext cx="1629290" cy="338554"/>
            </a:xfrm>
            <a:prstGeom prst="rect">
              <a:avLst/>
            </a:prstGeom>
            <a:noFill/>
          </p:spPr>
          <p:txBody>
            <a:bodyPr wrap="square" rtlCol="0">
              <a:spAutoFit/>
            </a:bodyPr>
            <a:lstStyle/>
            <a:p>
              <a:pPr algn="ctr"/>
              <a:r>
                <a:rPr lang="mn-MN" sz="1600" dirty="0">
                  <a:solidFill>
                    <a:schemeClr val="accent2">
                      <a:lumMod val="75000"/>
                    </a:schemeClr>
                  </a:solidFill>
                </a:rPr>
                <a:t>УТСААР</a:t>
              </a:r>
              <a:endParaRPr lang="en-GB" sz="1600" dirty="0">
                <a:solidFill>
                  <a:schemeClr val="accent2">
                    <a:lumMod val="75000"/>
                  </a:schemeClr>
                </a:solidFill>
              </a:endParaRPr>
            </a:p>
          </p:txBody>
        </p:sp>
        <p:sp>
          <p:nvSpPr>
            <p:cNvPr id="40" name="Gráfico 80">
              <a:extLst>
                <a:ext uri="{FF2B5EF4-FFF2-40B4-BE49-F238E27FC236}">
                  <a16:creationId xmlns:a16="http://schemas.microsoft.com/office/drawing/2014/main" id="{4FA52FC0-7052-33BD-178E-4A1746E5C451}"/>
                </a:ext>
              </a:extLst>
            </p:cNvPr>
            <p:cNvSpPr/>
            <p:nvPr/>
          </p:nvSpPr>
          <p:spPr>
            <a:xfrm>
              <a:off x="1801823" y="2918380"/>
              <a:ext cx="756000" cy="756000"/>
            </a:xfrm>
            <a:custGeom>
              <a:avLst/>
              <a:gdLst>
                <a:gd name="connsiteX0" fmla="*/ 523261 w 570831"/>
                <a:gd name="connsiteY0" fmla="*/ 47570 h 570832"/>
                <a:gd name="connsiteX1" fmla="*/ 485099 w 570831"/>
                <a:gd name="connsiteY1" fmla="*/ 47570 h 570832"/>
                <a:gd name="connsiteX2" fmla="*/ 356769 w 570831"/>
                <a:gd name="connsiteY2" fmla="*/ 0 h 570832"/>
                <a:gd name="connsiteX3" fmla="*/ 228439 w 570831"/>
                <a:gd name="connsiteY3" fmla="*/ 47570 h 570832"/>
                <a:gd name="connsiteX4" fmla="*/ 47570 w 570831"/>
                <a:gd name="connsiteY4" fmla="*/ 47570 h 570832"/>
                <a:gd name="connsiteX5" fmla="*/ 0 w 570831"/>
                <a:gd name="connsiteY5" fmla="*/ 95138 h 570832"/>
                <a:gd name="connsiteX6" fmla="*/ 0 w 570831"/>
                <a:gd name="connsiteY6" fmla="*/ 428123 h 570832"/>
                <a:gd name="connsiteX7" fmla="*/ 47570 w 570831"/>
                <a:gd name="connsiteY7" fmla="*/ 475693 h 570832"/>
                <a:gd name="connsiteX8" fmla="*/ 214115 w 570831"/>
                <a:gd name="connsiteY8" fmla="*/ 475693 h 570832"/>
                <a:gd name="connsiteX9" fmla="*/ 196386 w 570831"/>
                <a:gd name="connsiteY9" fmla="*/ 539347 h 570832"/>
                <a:gd name="connsiteX10" fmla="*/ 178385 w 570831"/>
                <a:gd name="connsiteY10" fmla="*/ 547047 h 570832"/>
                <a:gd name="connsiteX11" fmla="*/ 166492 w 570831"/>
                <a:gd name="connsiteY11" fmla="*/ 558939 h 570832"/>
                <a:gd name="connsiteX12" fmla="*/ 178385 w 570831"/>
                <a:gd name="connsiteY12" fmla="*/ 570832 h 570832"/>
                <a:gd name="connsiteX13" fmla="*/ 392446 w 570831"/>
                <a:gd name="connsiteY13" fmla="*/ 570832 h 570832"/>
                <a:gd name="connsiteX14" fmla="*/ 404339 w 570831"/>
                <a:gd name="connsiteY14" fmla="*/ 558939 h 570832"/>
                <a:gd name="connsiteX15" fmla="*/ 392446 w 570831"/>
                <a:gd name="connsiteY15" fmla="*/ 547047 h 570832"/>
                <a:gd name="connsiteX16" fmla="*/ 374468 w 570831"/>
                <a:gd name="connsiteY16" fmla="*/ 539358 h 570832"/>
                <a:gd name="connsiteX17" fmla="*/ 356730 w 570831"/>
                <a:gd name="connsiteY17" fmla="*/ 475693 h 570832"/>
                <a:gd name="connsiteX18" fmla="*/ 523263 w 570831"/>
                <a:gd name="connsiteY18" fmla="*/ 475693 h 570832"/>
                <a:gd name="connsiteX19" fmla="*/ 570831 w 570831"/>
                <a:gd name="connsiteY19" fmla="*/ 428123 h 570832"/>
                <a:gd name="connsiteX20" fmla="*/ 570831 w 570831"/>
                <a:gd name="connsiteY20" fmla="*/ 95138 h 570832"/>
                <a:gd name="connsiteX21" fmla="*/ 523261 w 570831"/>
                <a:gd name="connsiteY21" fmla="*/ 47570 h 570832"/>
                <a:gd name="connsiteX22" fmla="*/ 297308 w 570831"/>
                <a:gd name="connsiteY22" fmla="*/ 95138 h 570832"/>
                <a:gd name="connsiteX23" fmla="*/ 416232 w 570831"/>
                <a:gd name="connsiteY23" fmla="*/ 95138 h 570832"/>
                <a:gd name="connsiteX24" fmla="*/ 428123 w 570831"/>
                <a:gd name="connsiteY24" fmla="*/ 107031 h 570832"/>
                <a:gd name="connsiteX25" fmla="*/ 416231 w 570831"/>
                <a:gd name="connsiteY25" fmla="*/ 118924 h 570832"/>
                <a:gd name="connsiteX26" fmla="*/ 297308 w 570831"/>
                <a:gd name="connsiteY26" fmla="*/ 118924 h 570832"/>
                <a:gd name="connsiteX27" fmla="*/ 285416 w 570831"/>
                <a:gd name="connsiteY27" fmla="*/ 107031 h 570832"/>
                <a:gd name="connsiteX28" fmla="*/ 297308 w 570831"/>
                <a:gd name="connsiteY28" fmla="*/ 95138 h 570832"/>
                <a:gd name="connsiteX29" fmla="*/ 297308 w 570831"/>
                <a:gd name="connsiteY29" fmla="*/ 166492 h 570832"/>
                <a:gd name="connsiteX30" fmla="*/ 368662 w 570831"/>
                <a:gd name="connsiteY30" fmla="*/ 166492 h 570832"/>
                <a:gd name="connsiteX31" fmla="*/ 380555 w 570831"/>
                <a:gd name="connsiteY31" fmla="*/ 178385 h 570832"/>
                <a:gd name="connsiteX32" fmla="*/ 368662 w 570831"/>
                <a:gd name="connsiteY32" fmla="*/ 190277 h 570832"/>
                <a:gd name="connsiteX33" fmla="*/ 297308 w 570831"/>
                <a:gd name="connsiteY33" fmla="*/ 190277 h 570832"/>
                <a:gd name="connsiteX34" fmla="*/ 285416 w 570831"/>
                <a:gd name="connsiteY34" fmla="*/ 178385 h 570832"/>
                <a:gd name="connsiteX35" fmla="*/ 297308 w 570831"/>
                <a:gd name="connsiteY35" fmla="*/ 166492 h 570832"/>
                <a:gd name="connsiteX36" fmla="*/ 285416 w 570831"/>
                <a:gd name="connsiteY36" fmla="*/ 451978 h 570832"/>
                <a:gd name="connsiteX37" fmla="*/ 261561 w 570831"/>
                <a:gd name="connsiteY37" fmla="*/ 428123 h 570832"/>
                <a:gd name="connsiteX38" fmla="*/ 285416 w 570831"/>
                <a:gd name="connsiteY38" fmla="*/ 404269 h 570832"/>
                <a:gd name="connsiteX39" fmla="*/ 309270 w 570831"/>
                <a:gd name="connsiteY39" fmla="*/ 428123 h 570832"/>
                <a:gd name="connsiteX40" fmla="*/ 285416 w 570831"/>
                <a:gd name="connsiteY40" fmla="*/ 451978 h 570832"/>
                <a:gd name="connsiteX41" fmla="*/ 47570 w 570831"/>
                <a:gd name="connsiteY41" fmla="*/ 380554 h 570832"/>
                <a:gd name="connsiteX42" fmla="*/ 47570 w 570831"/>
                <a:gd name="connsiteY42" fmla="*/ 95138 h 570832"/>
                <a:gd name="connsiteX43" fmla="*/ 196732 w 570831"/>
                <a:gd name="connsiteY43" fmla="*/ 95138 h 570832"/>
                <a:gd name="connsiteX44" fmla="*/ 190277 w 570831"/>
                <a:gd name="connsiteY44" fmla="*/ 130815 h 570832"/>
                <a:gd name="connsiteX45" fmla="*/ 224700 w 570831"/>
                <a:gd name="connsiteY45" fmla="*/ 210391 h 570832"/>
                <a:gd name="connsiteX46" fmla="*/ 193761 w 570831"/>
                <a:gd name="connsiteY46" fmla="*/ 241330 h 570832"/>
                <a:gd name="connsiteX47" fmla="*/ 191183 w 570831"/>
                <a:gd name="connsiteY47" fmla="*/ 254291 h 570832"/>
                <a:gd name="connsiteX48" fmla="*/ 202169 w 570831"/>
                <a:gd name="connsiteY48" fmla="*/ 261630 h 570832"/>
                <a:gd name="connsiteX49" fmla="*/ 356769 w 570831"/>
                <a:gd name="connsiteY49" fmla="*/ 261630 h 570832"/>
                <a:gd name="connsiteX50" fmla="*/ 523261 w 570831"/>
                <a:gd name="connsiteY50" fmla="*/ 130815 h 570832"/>
                <a:gd name="connsiteX51" fmla="*/ 516807 w 570831"/>
                <a:gd name="connsiteY51" fmla="*/ 95138 h 570832"/>
                <a:gd name="connsiteX52" fmla="*/ 523261 w 570831"/>
                <a:gd name="connsiteY52" fmla="*/ 95138 h 570832"/>
                <a:gd name="connsiteX53" fmla="*/ 523281 w 570831"/>
                <a:gd name="connsiteY53" fmla="*/ 380554 h 570832"/>
                <a:gd name="connsiteX54" fmla="*/ 47570 w 570831"/>
                <a:gd name="connsiteY54" fmla="*/ 380554 h 570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70831" h="570832">
                  <a:moveTo>
                    <a:pt x="523261" y="47570"/>
                  </a:moveTo>
                  <a:lnTo>
                    <a:pt x="485099" y="47570"/>
                  </a:lnTo>
                  <a:cubicBezTo>
                    <a:pt x="454536" y="18534"/>
                    <a:pt x="408358" y="0"/>
                    <a:pt x="356769" y="0"/>
                  </a:cubicBezTo>
                  <a:cubicBezTo>
                    <a:pt x="305181" y="0"/>
                    <a:pt x="259002" y="18534"/>
                    <a:pt x="228439" y="47570"/>
                  </a:cubicBezTo>
                  <a:lnTo>
                    <a:pt x="47570" y="47570"/>
                  </a:lnTo>
                  <a:cubicBezTo>
                    <a:pt x="21346" y="47570"/>
                    <a:pt x="0" y="68903"/>
                    <a:pt x="0" y="95138"/>
                  </a:cubicBezTo>
                  <a:lnTo>
                    <a:pt x="0" y="428123"/>
                  </a:lnTo>
                  <a:cubicBezTo>
                    <a:pt x="0" y="454358"/>
                    <a:pt x="21346" y="475693"/>
                    <a:pt x="47570" y="475693"/>
                  </a:cubicBezTo>
                  <a:lnTo>
                    <a:pt x="214115" y="475693"/>
                  </a:lnTo>
                  <a:cubicBezTo>
                    <a:pt x="213616" y="494666"/>
                    <a:pt x="209992" y="525016"/>
                    <a:pt x="196386" y="539347"/>
                  </a:cubicBezTo>
                  <a:cubicBezTo>
                    <a:pt x="191392" y="544596"/>
                    <a:pt x="185678" y="547047"/>
                    <a:pt x="178385" y="547047"/>
                  </a:cubicBezTo>
                  <a:cubicBezTo>
                    <a:pt x="171811" y="547047"/>
                    <a:pt x="166492" y="552366"/>
                    <a:pt x="166492" y="558939"/>
                  </a:cubicBezTo>
                  <a:cubicBezTo>
                    <a:pt x="166492" y="565513"/>
                    <a:pt x="171811" y="570832"/>
                    <a:pt x="178385" y="570832"/>
                  </a:cubicBezTo>
                  <a:lnTo>
                    <a:pt x="392446" y="570832"/>
                  </a:lnTo>
                  <a:cubicBezTo>
                    <a:pt x="399020" y="570832"/>
                    <a:pt x="404339" y="565513"/>
                    <a:pt x="404339" y="558939"/>
                  </a:cubicBezTo>
                  <a:cubicBezTo>
                    <a:pt x="404339" y="552366"/>
                    <a:pt x="399020" y="547047"/>
                    <a:pt x="392446" y="547047"/>
                  </a:cubicBezTo>
                  <a:cubicBezTo>
                    <a:pt x="385153" y="547047"/>
                    <a:pt x="379439" y="544607"/>
                    <a:pt x="374468" y="539358"/>
                  </a:cubicBezTo>
                  <a:cubicBezTo>
                    <a:pt x="360896" y="525099"/>
                    <a:pt x="357249" y="494705"/>
                    <a:pt x="356730" y="475693"/>
                  </a:cubicBezTo>
                  <a:lnTo>
                    <a:pt x="523263" y="475693"/>
                  </a:lnTo>
                  <a:cubicBezTo>
                    <a:pt x="549485" y="475693"/>
                    <a:pt x="570831" y="454358"/>
                    <a:pt x="570831" y="428123"/>
                  </a:cubicBezTo>
                  <a:lnTo>
                    <a:pt x="570831" y="95138"/>
                  </a:lnTo>
                  <a:cubicBezTo>
                    <a:pt x="570831" y="68903"/>
                    <a:pt x="549485" y="47570"/>
                    <a:pt x="523261" y="47570"/>
                  </a:cubicBezTo>
                  <a:close/>
                  <a:moveTo>
                    <a:pt x="297308" y="95138"/>
                  </a:moveTo>
                  <a:lnTo>
                    <a:pt x="416232" y="95138"/>
                  </a:lnTo>
                  <a:cubicBezTo>
                    <a:pt x="422804" y="95138"/>
                    <a:pt x="428123" y="100457"/>
                    <a:pt x="428123" y="107031"/>
                  </a:cubicBezTo>
                  <a:cubicBezTo>
                    <a:pt x="428123" y="113604"/>
                    <a:pt x="422804" y="118924"/>
                    <a:pt x="416231" y="118924"/>
                  </a:cubicBezTo>
                  <a:lnTo>
                    <a:pt x="297308" y="118924"/>
                  </a:lnTo>
                  <a:cubicBezTo>
                    <a:pt x="290735" y="118924"/>
                    <a:pt x="285416" y="113604"/>
                    <a:pt x="285416" y="107031"/>
                  </a:cubicBezTo>
                  <a:cubicBezTo>
                    <a:pt x="285416" y="100457"/>
                    <a:pt x="290735" y="95138"/>
                    <a:pt x="297308" y="95138"/>
                  </a:cubicBezTo>
                  <a:close/>
                  <a:moveTo>
                    <a:pt x="297308" y="166492"/>
                  </a:moveTo>
                  <a:lnTo>
                    <a:pt x="368662" y="166492"/>
                  </a:lnTo>
                  <a:cubicBezTo>
                    <a:pt x="375236" y="166492"/>
                    <a:pt x="380555" y="171811"/>
                    <a:pt x="380555" y="178385"/>
                  </a:cubicBezTo>
                  <a:cubicBezTo>
                    <a:pt x="380555" y="184958"/>
                    <a:pt x="375236" y="190277"/>
                    <a:pt x="368662" y="190277"/>
                  </a:cubicBezTo>
                  <a:lnTo>
                    <a:pt x="297308" y="190277"/>
                  </a:lnTo>
                  <a:cubicBezTo>
                    <a:pt x="290735" y="190277"/>
                    <a:pt x="285416" y="184958"/>
                    <a:pt x="285416" y="178385"/>
                  </a:cubicBezTo>
                  <a:cubicBezTo>
                    <a:pt x="285416" y="171811"/>
                    <a:pt x="290735" y="166492"/>
                    <a:pt x="297308" y="166492"/>
                  </a:cubicBezTo>
                  <a:close/>
                  <a:moveTo>
                    <a:pt x="285416" y="451978"/>
                  </a:moveTo>
                  <a:cubicBezTo>
                    <a:pt x="272269" y="451978"/>
                    <a:pt x="261561" y="441270"/>
                    <a:pt x="261561" y="428123"/>
                  </a:cubicBezTo>
                  <a:cubicBezTo>
                    <a:pt x="261561" y="414976"/>
                    <a:pt x="272269" y="404269"/>
                    <a:pt x="285416" y="404269"/>
                  </a:cubicBezTo>
                  <a:cubicBezTo>
                    <a:pt x="298562" y="404269"/>
                    <a:pt x="309270" y="414976"/>
                    <a:pt x="309270" y="428123"/>
                  </a:cubicBezTo>
                  <a:cubicBezTo>
                    <a:pt x="309270" y="441270"/>
                    <a:pt x="298562" y="451978"/>
                    <a:pt x="285416" y="451978"/>
                  </a:cubicBezTo>
                  <a:close/>
                  <a:moveTo>
                    <a:pt x="47570" y="380554"/>
                  </a:moveTo>
                  <a:lnTo>
                    <a:pt x="47570" y="95138"/>
                  </a:lnTo>
                  <a:lnTo>
                    <a:pt x="196732" y="95138"/>
                  </a:lnTo>
                  <a:cubicBezTo>
                    <a:pt x="192622" y="106498"/>
                    <a:pt x="190277" y="118435"/>
                    <a:pt x="190277" y="130815"/>
                  </a:cubicBezTo>
                  <a:cubicBezTo>
                    <a:pt x="190277" y="159768"/>
                    <a:pt x="202413" y="187617"/>
                    <a:pt x="224700" y="210391"/>
                  </a:cubicBezTo>
                  <a:lnTo>
                    <a:pt x="193761" y="241330"/>
                  </a:lnTo>
                  <a:cubicBezTo>
                    <a:pt x="190359" y="244733"/>
                    <a:pt x="189336" y="249842"/>
                    <a:pt x="191183" y="254291"/>
                  </a:cubicBezTo>
                  <a:cubicBezTo>
                    <a:pt x="193018" y="258739"/>
                    <a:pt x="197361" y="261630"/>
                    <a:pt x="202169" y="261630"/>
                  </a:cubicBezTo>
                  <a:lnTo>
                    <a:pt x="356769" y="261630"/>
                  </a:lnTo>
                  <a:cubicBezTo>
                    <a:pt x="448575" y="261630"/>
                    <a:pt x="523261" y="202947"/>
                    <a:pt x="523261" y="130815"/>
                  </a:cubicBezTo>
                  <a:cubicBezTo>
                    <a:pt x="523261" y="118435"/>
                    <a:pt x="520917" y="106498"/>
                    <a:pt x="516807" y="95138"/>
                  </a:cubicBezTo>
                  <a:lnTo>
                    <a:pt x="523261" y="95138"/>
                  </a:lnTo>
                  <a:lnTo>
                    <a:pt x="523281" y="380554"/>
                  </a:lnTo>
                  <a:lnTo>
                    <a:pt x="47570" y="380554"/>
                  </a:lnTo>
                  <a:close/>
                </a:path>
              </a:pathLst>
            </a:custGeom>
            <a:solidFill>
              <a:schemeClr val="accent2">
                <a:lumMod val="75000"/>
              </a:schemeClr>
            </a:solidFill>
            <a:ln w="1098" cap="flat">
              <a:noFill/>
              <a:prstDash val="solid"/>
              <a:miter/>
            </a:ln>
          </p:spPr>
          <p:txBody>
            <a:bodyPr rtlCol="0" anchor="ctr"/>
            <a:lstStyle/>
            <a:p>
              <a:endParaRPr lang="es-MX"/>
            </a:p>
          </p:txBody>
        </p:sp>
        <p:grpSp>
          <p:nvGrpSpPr>
            <p:cNvPr id="43" name="Gráfico 211">
              <a:extLst>
                <a:ext uri="{FF2B5EF4-FFF2-40B4-BE49-F238E27FC236}">
                  <a16:creationId xmlns:a16="http://schemas.microsoft.com/office/drawing/2014/main" id="{732C027B-F70E-E7FA-36AE-A1533A8CF195}"/>
                </a:ext>
              </a:extLst>
            </p:cNvPr>
            <p:cNvGrpSpPr>
              <a:grpSpLocks noChangeAspect="1"/>
            </p:cNvGrpSpPr>
            <p:nvPr/>
          </p:nvGrpSpPr>
          <p:grpSpPr>
            <a:xfrm>
              <a:off x="1801824" y="4245109"/>
              <a:ext cx="756000" cy="695589"/>
              <a:chOff x="2827562" y="793231"/>
              <a:chExt cx="570831" cy="570831"/>
            </a:xfrm>
            <a:solidFill>
              <a:schemeClr val="accent2">
                <a:lumMod val="75000"/>
              </a:schemeClr>
            </a:solidFill>
          </p:grpSpPr>
          <p:sp>
            <p:nvSpPr>
              <p:cNvPr id="44" name="Forma libre 59">
                <a:extLst>
                  <a:ext uri="{FF2B5EF4-FFF2-40B4-BE49-F238E27FC236}">
                    <a16:creationId xmlns:a16="http://schemas.microsoft.com/office/drawing/2014/main" id="{67320A6C-C908-701E-CF50-961BA70CAB5D}"/>
                  </a:ext>
                </a:extLst>
              </p:cNvPr>
              <p:cNvSpPr/>
              <p:nvPr/>
            </p:nvSpPr>
            <p:spPr>
              <a:xfrm>
                <a:off x="2826726" y="816179"/>
                <a:ext cx="571946" cy="215177"/>
              </a:xfrm>
              <a:custGeom>
                <a:avLst/>
                <a:gdLst>
                  <a:gd name="connsiteX0" fmla="*/ 561425 w 571945"/>
                  <a:gd name="connsiteY0" fmla="*/ 107472 h 215176"/>
                  <a:gd name="connsiteX1" fmla="*/ 286252 w 571945"/>
                  <a:gd name="connsiteY1" fmla="*/ 836 h 215176"/>
                  <a:gd name="connsiteX2" fmla="*/ 11080 w 571945"/>
                  <a:gd name="connsiteY2" fmla="*/ 107472 h 215176"/>
                  <a:gd name="connsiteX3" fmla="*/ 836 w 571945"/>
                  <a:gd name="connsiteY3" fmla="*/ 130851 h 215176"/>
                  <a:gd name="connsiteX4" fmla="*/ 11080 w 571945"/>
                  <a:gd name="connsiteY4" fmla="*/ 154229 h 215176"/>
                  <a:gd name="connsiteX5" fmla="*/ 65896 w 571945"/>
                  <a:gd name="connsiteY5" fmla="*/ 205491 h 215176"/>
                  <a:gd name="connsiteX6" fmla="*/ 113582 w 571945"/>
                  <a:gd name="connsiteY6" fmla="*/ 205491 h 215176"/>
                  <a:gd name="connsiteX7" fmla="*/ 175436 w 571945"/>
                  <a:gd name="connsiteY7" fmla="*/ 163554 h 215176"/>
                  <a:gd name="connsiteX8" fmla="*/ 194482 w 571945"/>
                  <a:gd name="connsiteY8" fmla="*/ 135984 h 215176"/>
                  <a:gd name="connsiteX9" fmla="*/ 202634 w 571945"/>
                  <a:gd name="connsiteY9" fmla="*/ 81377 h 215176"/>
                  <a:gd name="connsiteX10" fmla="*/ 369893 w 571945"/>
                  <a:gd name="connsiteY10" fmla="*/ 81366 h 215176"/>
                  <a:gd name="connsiteX11" fmla="*/ 377883 w 571945"/>
                  <a:gd name="connsiteY11" fmla="*/ 134231 h 215176"/>
                  <a:gd name="connsiteX12" fmla="*/ 396813 w 571945"/>
                  <a:gd name="connsiteY12" fmla="*/ 163637 h 215176"/>
                  <a:gd name="connsiteX13" fmla="*/ 458761 w 571945"/>
                  <a:gd name="connsiteY13" fmla="*/ 205632 h 215176"/>
                  <a:gd name="connsiteX14" fmla="*/ 482615 w 571945"/>
                  <a:gd name="connsiteY14" fmla="*/ 214853 h 215176"/>
                  <a:gd name="connsiteX15" fmla="*/ 506446 w 571945"/>
                  <a:gd name="connsiteY15" fmla="*/ 205632 h 215176"/>
                  <a:gd name="connsiteX16" fmla="*/ 561426 w 571945"/>
                  <a:gd name="connsiteY16" fmla="*/ 154230 h 215176"/>
                  <a:gd name="connsiteX17" fmla="*/ 571669 w 571945"/>
                  <a:gd name="connsiteY17" fmla="*/ 130852 h 215176"/>
                  <a:gd name="connsiteX18" fmla="*/ 561425 w 571945"/>
                  <a:gd name="connsiteY18" fmla="*/ 107472 h 21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945" h="215176">
                    <a:moveTo>
                      <a:pt x="561425" y="107472"/>
                    </a:moveTo>
                    <a:cubicBezTo>
                      <a:pt x="487863" y="38708"/>
                      <a:pt x="390147" y="836"/>
                      <a:pt x="286252" y="836"/>
                    </a:cubicBezTo>
                    <a:cubicBezTo>
                      <a:pt x="182356" y="836"/>
                      <a:pt x="84640" y="38708"/>
                      <a:pt x="11080" y="107472"/>
                    </a:cubicBezTo>
                    <a:cubicBezTo>
                      <a:pt x="4483" y="113662"/>
                      <a:pt x="836" y="121955"/>
                      <a:pt x="836" y="130851"/>
                    </a:cubicBezTo>
                    <a:cubicBezTo>
                      <a:pt x="836" y="139747"/>
                      <a:pt x="4483" y="148039"/>
                      <a:pt x="11080" y="154229"/>
                    </a:cubicBezTo>
                    <a:lnTo>
                      <a:pt x="65896" y="205491"/>
                    </a:lnTo>
                    <a:cubicBezTo>
                      <a:pt x="79067" y="217802"/>
                      <a:pt x="100458" y="217755"/>
                      <a:pt x="113582" y="205491"/>
                    </a:cubicBezTo>
                    <a:cubicBezTo>
                      <a:pt x="131862" y="188361"/>
                      <a:pt x="152720" y="174239"/>
                      <a:pt x="175436" y="163554"/>
                    </a:cubicBezTo>
                    <a:cubicBezTo>
                      <a:pt x="187095" y="158224"/>
                      <a:pt x="194621" y="146715"/>
                      <a:pt x="194482" y="135984"/>
                    </a:cubicBezTo>
                    <a:lnTo>
                      <a:pt x="202634" y="81377"/>
                    </a:lnTo>
                    <a:cubicBezTo>
                      <a:pt x="261794" y="64677"/>
                      <a:pt x="311290" y="64642"/>
                      <a:pt x="369893" y="81366"/>
                    </a:cubicBezTo>
                    <a:lnTo>
                      <a:pt x="377883" y="134231"/>
                    </a:lnTo>
                    <a:cubicBezTo>
                      <a:pt x="377883" y="146705"/>
                      <a:pt x="385083" y="157946"/>
                      <a:pt x="396813" y="163637"/>
                    </a:cubicBezTo>
                    <a:cubicBezTo>
                      <a:pt x="419646" y="174402"/>
                      <a:pt x="440481" y="188525"/>
                      <a:pt x="458761" y="205632"/>
                    </a:cubicBezTo>
                    <a:cubicBezTo>
                      <a:pt x="465334" y="211775"/>
                      <a:pt x="473975" y="214853"/>
                      <a:pt x="482615" y="214853"/>
                    </a:cubicBezTo>
                    <a:cubicBezTo>
                      <a:pt x="491232" y="214853"/>
                      <a:pt x="499873" y="211776"/>
                      <a:pt x="506446" y="205632"/>
                    </a:cubicBezTo>
                    <a:lnTo>
                      <a:pt x="561426" y="154230"/>
                    </a:lnTo>
                    <a:cubicBezTo>
                      <a:pt x="568023" y="148040"/>
                      <a:pt x="571669" y="139748"/>
                      <a:pt x="571669" y="130852"/>
                    </a:cubicBezTo>
                    <a:cubicBezTo>
                      <a:pt x="571667" y="121955"/>
                      <a:pt x="568020" y="113662"/>
                      <a:pt x="561425" y="107472"/>
                    </a:cubicBezTo>
                    <a:close/>
                  </a:path>
                </a:pathLst>
              </a:custGeom>
              <a:grpFill/>
              <a:ln w="9525" cap="flat">
                <a:noFill/>
                <a:prstDash val="solid"/>
                <a:miter/>
              </a:ln>
            </p:spPr>
            <p:txBody>
              <a:bodyPr rtlCol="0" anchor="ctr"/>
              <a:lstStyle/>
              <a:p>
                <a:endParaRPr lang="es-MX"/>
              </a:p>
            </p:txBody>
          </p:sp>
          <p:sp>
            <p:nvSpPr>
              <p:cNvPr id="45" name="Forma libre 60">
                <a:extLst>
                  <a:ext uri="{FF2B5EF4-FFF2-40B4-BE49-F238E27FC236}">
                    <a16:creationId xmlns:a16="http://schemas.microsoft.com/office/drawing/2014/main" id="{18CCA00F-CD45-D8AE-03F8-0EE77B802846}"/>
                  </a:ext>
                </a:extLst>
              </p:cNvPr>
              <p:cNvSpPr/>
              <p:nvPr/>
            </p:nvSpPr>
            <p:spPr>
              <a:xfrm>
                <a:off x="2850510" y="959391"/>
                <a:ext cx="524005" cy="381297"/>
              </a:xfrm>
              <a:custGeom>
                <a:avLst/>
                <a:gdLst>
                  <a:gd name="connsiteX0" fmla="*/ 436485 w 524005"/>
                  <a:gd name="connsiteY0" fmla="*/ 94751 h 381297"/>
                  <a:gd name="connsiteX1" fmla="*/ 402828 w 524005"/>
                  <a:gd name="connsiteY1" fmla="*/ 66287 h 381297"/>
                  <a:gd name="connsiteX2" fmla="*/ 370404 w 524005"/>
                  <a:gd name="connsiteY2" fmla="*/ 55486 h 381297"/>
                  <a:gd name="connsiteX3" fmla="*/ 348547 w 524005"/>
                  <a:gd name="connsiteY3" fmla="*/ 34894 h 381297"/>
                  <a:gd name="connsiteX4" fmla="*/ 343832 w 524005"/>
                  <a:gd name="connsiteY4" fmla="*/ 23095 h 381297"/>
                  <a:gd name="connsiteX5" fmla="*/ 323811 w 524005"/>
                  <a:gd name="connsiteY5" fmla="*/ 3271 h 381297"/>
                  <a:gd name="connsiteX6" fmla="*/ 294637 w 524005"/>
                  <a:gd name="connsiteY6" fmla="*/ 4572 h 381297"/>
                  <a:gd name="connsiteX7" fmla="*/ 230298 w 524005"/>
                  <a:gd name="connsiteY7" fmla="*/ 4561 h 381297"/>
                  <a:gd name="connsiteX8" fmla="*/ 201124 w 524005"/>
                  <a:gd name="connsiteY8" fmla="*/ 3272 h 381297"/>
                  <a:gd name="connsiteX9" fmla="*/ 181103 w 524005"/>
                  <a:gd name="connsiteY9" fmla="*/ 23109 h 381297"/>
                  <a:gd name="connsiteX10" fmla="*/ 176388 w 524005"/>
                  <a:gd name="connsiteY10" fmla="*/ 34885 h 381297"/>
                  <a:gd name="connsiteX11" fmla="*/ 154531 w 524005"/>
                  <a:gd name="connsiteY11" fmla="*/ 55488 h 381297"/>
                  <a:gd name="connsiteX12" fmla="*/ 122107 w 524005"/>
                  <a:gd name="connsiteY12" fmla="*/ 66300 h 381297"/>
                  <a:gd name="connsiteX13" fmla="*/ 88450 w 524005"/>
                  <a:gd name="connsiteY13" fmla="*/ 94730 h 381297"/>
                  <a:gd name="connsiteX14" fmla="*/ 7828 w 524005"/>
                  <a:gd name="connsiteY14" fmla="*/ 245879 h 381297"/>
                  <a:gd name="connsiteX15" fmla="*/ 836 w 524005"/>
                  <a:gd name="connsiteY15" fmla="*/ 273856 h 381297"/>
                  <a:gd name="connsiteX16" fmla="*/ 836 w 524005"/>
                  <a:gd name="connsiteY16" fmla="*/ 333317 h 381297"/>
                  <a:gd name="connsiteX17" fmla="*/ 48406 w 524005"/>
                  <a:gd name="connsiteY17" fmla="*/ 380887 h 381297"/>
                  <a:gd name="connsiteX18" fmla="*/ 476529 w 524005"/>
                  <a:gd name="connsiteY18" fmla="*/ 380887 h 381297"/>
                  <a:gd name="connsiteX19" fmla="*/ 524099 w 524005"/>
                  <a:gd name="connsiteY19" fmla="*/ 333317 h 381297"/>
                  <a:gd name="connsiteX20" fmla="*/ 524099 w 524005"/>
                  <a:gd name="connsiteY20" fmla="*/ 273856 h 381297"/>
                  <a:gd name="connsiteX21" fmla="*/ 517107 w 524005"/>
                  <a:gd name="connsiteY21" fmla="*/ 245868 h 381297"/>
                  <a:gd name="connsiteX22" fmla="*/ 436485 w 524005"/>
                  <a:gd name="connsiteY22" fmla="*/ 94751 h 381297"/>
                  <a:gd name="connsiteX23" fmla="*/ 262467 w 524005"/>
                  <a:gd name="connsiteY23" fmla="*/ 285748 h 381297"/>
                  <a:gd name="connsiteX24" fmla="*/ 107867 w 524005"/>
                  <a:gd name="connsiteY24" fmla="*/ 190610 h 381297"/>
                  <a:gd name="connsiteX25" fmla="*/ 262467 w 524005"/>
                  <a:gd name="connsiteY25" fmla="*/ 95472 h 381297"/>
                  <a:gd name="connsiteX26" fmla="*/ 417068 w 524005"/>
                  <a:gd name="connsiteY26" fmla="*/ 190610 h 381297"/>
                  <a:gd name="connsiteX27" fmla="*/ 262467 w 524005"/>
                  <a:gd name="connsiteY27" fmla="*/ 285748 h 381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24005" h="381297">
                    <a:moveTo>
                      <a:pt x="436485" y="94751"/>
                    </a:moveTo>
                    <a:cubicBezTo>
                      <a:pt x="429307" y="81244"/>
                      <a:pt x="417369" y="71141"/>
                      <a:pt x="402828" y="66287"/>
                    </a:cubicBezTo>
                    <a:lnTo>
                      <a:pt x="370404" y="55486"/>
                    </a:lnTo>
                    <a:cubicBezTo>
                      <a:pt x="360416" y="52164"/>
                      <a:pt x="352473" y="44650"/>
                      <a:pt x="348547" y="34894"/>
                    </a:cubicBezTo>
                    <a:lnTo>
                      <a:pt x="343832" y="23095"/>
                    </a:lnTo>
                    <a:cubicBezTo>
                      <a:pt x="340138" y="13886"/>
                      <a:pt x="333031" y="6837"/>
                      <a:pt x="323811" y="3271"/>
                    </a:cubicBezTo>
                    <a:cubicBezTo>
                      <a:pt x="314426" y="-387"/>
                      <a:pt x="303766" y="100"/>
                      <a:pt x="294637" y="4572"/>
                    </a:cubicBezTo>
                    <a:cubicBezTo>
                      <a:pt x="273640" y="14722"/>
                      <a:pt x="251295" y="14735"/>
                      <a:pt x="230298" y="4561"/>
                    </a:cubicBezTo>
                    <a:cubicBezTo>
                      <a:pt x="221123" y="125"/>
                      <a:pt x="210462" y="-328"/>
                      <a:pt x="201124" y="3272"/>
                    </a:cubicBezTo>
                    <a:cubicBezTo>
                      <a:pt x="191903" y="6838"/>
                      <a:pt x="184795" y="13887"/>
                      <a:pt x="181103" y="23109"/>
                    </a:cubicBezTo>
                    <a:lnTo>
                      <a:pt x="176388" y="34885"/>
                    </a:lnTo>
                    <a:cubicBezTo>
                      <a:pt x="172462" y="44652"/>
                      <a:pt x="164495" y="52166"/>
                      <a:pt x="154531" y="55488"/>
                    </a:cubicBezTo>
                    <a:lnTo>
                      <a:pt x="122107" y="66300"/>
                    </a:lnTo>
                    <a:cubicBezTo>
                      <a:pt x="107566" y="71143"/>
                      <a:pt x="95628" y="81246"/>
                      <a:pt x="88450" y="94730"/>
                    </a:cubicBezTo>
                    <a:lnTo>
                      <a:pt x="7828" y="245879"/>
                    </a:lnTo>
                    <a:cubicBezTo>
                      <a:pt x="3252" y="254473"/>
                      <a:pt x="836" y="264147"/>
                      <a:pt x="836" y="273856"/>
                    </a:cubicBezTo>
                    <a:lnTo>
                      <a:pt x="836" y="333317"/>
                    </a:lnTo>
                    <a:cubicBezTo>
                      <a:pt x="836" y="359552"/>
                      <a:pt x="22182" y="380887"/>
                      <a:pt x="48406" y="380887"/>
                    </a:cubicBezTo>
                    <a:lnTo>
                      <a:pt x="476529" y="380887"/>
                    </a:lnTo>
                    <a:cubicBezTo>
                      <a:pt x="502753" y="380887"/>
                      <a:pt x="524099" y="359553"/>
                      <a:pt x="524099" y="333317"/>
                    </a:cubicBezTo>
                    <a:lnTo>
                      <a:pt x="524099" y="273856"/>
                    </a:lnTo>
                    <a:cubicBezTo>
                      <a:pt x="524099" y="264148"/>
                      <a:pt x="521683" y="254474"/>
                      <a:pt x="517107" y="245868"/>
                    </a:cubicBezTo>
                    <a:lnTo>
                      <a:pt x="436485" y="94751"/>
                    </a:lnTo>
                    <a:close/>
                    <a:moveTo>
                      <a:pt x="262467" y="285748"/>
                    </a:moveTo>
                    <a:cubicBezTo>
                      <a:pt x="175784" y="285748"/>
                      <a:pt x="107867" y="243962"/>
                      <a:pt x="107867" y="190610"/>
                    </a:cubicBezTo>
                    <a:cubicBezTo>
                      <a:pt x="107867" y="137257"/>
                      <a:pt x="175784" y="95472"/>
                      <a:pt x="262467" y="95472"/>
                    </a:cubicBezTo>
                    <a:cubicBezTo>
                      <a:pt x="349151" y="95472"/>
                      <a:pt x="417068" y="137257"/>
                      <a:pt x="417068" y="190610"/>
                    </a:cubicBezTo>
                    <a:cubicBezTo>
                      <a:pt x="417068" y="243962"/>
                      <a:pt x="349151" y="285748"/>
                      <a:pt x="262467" y="285748"/>
                    </a:cubicBezTo>
                    <a:close/>
                  </a:path>
                </a:pathLst>
              </a:custGeom>
              <a:grpFill/>
              <a:ln w="9525" cap="flat">
                <a:noFill/>
                <a:prstDash val="solid"/>
                <a:miter/>
              </a:ln>
            </p:spPr>
            <p:txBody>
              <a:bodyPr rtlCol="0" anchor="ctr"/>
              <a:lstStyle/>
              <a:p>
                <a:endParaRPr lang="es-MX"/>
              </a:p>
            </p:txBody>
          </p:sp>
          <p:sp>
            <p:nvSpPr>
              <p:cNvPr id="46" name="Forma libre 61">
                <a:extLst>
                  <a:ext uri="{FF2B5EF4-FFF2-40B4-BE49-F238E27FC236}">
                    <a16:creationId xmlns:a16="http://schemas.microsoft.com/office/drawing/2014/main" id="{BB8AD3DC-B60B-E298-7E21-ECEE817851CA}"/>
                  </a:ext>
                </a:extLst>
              </p:cNvPr>
              <p:cNvSpPr/>
              <p:nvPr/>
            </p:nvSpPr>
            <p:spPr>
              <a:xfrm>
                <a:off x="2993219" y="1131326"/>
                <a:ext cx="49056" cy="36792"/>
              </a:xfrm>
              <a:custGeom>
                <a:avLst/>
                <a:gdLst>
                  <a:gd name="connsiteX0" fmla="*/ 24620 w 49055"/>
                  <a:gd name="connsiteY0" fmla="*/ 836 h 36791"/>
                  <a:gd name="connsiteX1" fmla="*/ 836 w 49055"/>
                  <a:gd name="connsiteY1" fmla="*/ 18675 h 36791"/>
                  <a:gd name="connsiteX2" fmla="*/ 24620 w 49055"/>
                  <a:gd name="connsiteY2" fmla="*/ 36513 h 36791"/>
                  <a:gd name="connsiteX3" fmla="*/ 48405 w 49055"/>
                  <a:gd name="connsiteY3" fmla="*/ 18675 h 36791"/>
                  <a:gd name="connsiteX4" fmla="*/ 24620 w 49055"/>
                  <a:gd name="connsiteY4" fmla="*/ 836 h 36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55" h="36791">
                    <a:moveTo>
                      <a:pt x="24620" y="836"/>
                    </a:moveTo>
                    <a:cubicBezTo>
                      <a:pt x="10847" y="836"/>
                      <a:pt x="836" y="8338"/>
                      <a:pt x="836" y="18675"/>
                    </a:cubicBezTo>
                    <a:cubicBezTo>
                      <a:pt x="836" y="29011"/>
                      <a:pt x="10847" y="36513"/>
                      <a:pt x="24620" y="36513"/>
                    </a:cubicBezTo>
                    <a:cubicBezTo>
                      <a:pt x="38394" y="36513"/>
                      <a:pt x="48405" y="29011"/>
                      <a:pt x="48405" y="18675"/>
                    </a:cubicBezTo>
                    <a:cubicBezTo>
                      <a:pt x="48405" y="8338"/>
                      <a:pt x="38394" y="836"/>
                      <a:pt x="24620" y="836"/>
                    </a:cubicBezTo>
                    <a:close/>
                  </a:path>
                </a:pathLst>
              </a:custGeom>
              <a:grpFill/>
              <a:ln w="9525" cap="flat">
                <a:noFill/>
                <a:prstDash val="solid"/>
                <a:miter/>
              </a:ln>
            </p:spPr>
            <p:txBody>
              <a:bodyPr rtlCol="0" anchor="ctr"/>
              <a:lstStyle/>
              <a:p>
                <a:endParaRPr lang="es-MX"/>
              </a:p>
            </p:txBody>
          </p:sp>
          <p:sp>
            <p:nvSpPr>
              <p:cNvPr id="47" name="Forma libre 62">
                <a:extLst>
                  <a:ext uri="{FF2B5EF4-FFF2-40B4-BE49-F238E27FC236}">
                    <a16:creationId xmlns:a16="http://schemas.microsoft.com/office/drawing/2014/main" id="{46CDF901-3CA0-8FC1-260D-E32A42B3B14F}"/>
                  </a:ext>
                </a:extLst>
              </p:cNvPr>
              <p:cNvSpPr/>
              <p:nvPr/>
            </p:nvSpPr>
            <p:spPr>
              <a:xfrm>
                <a:off x="3052680" y="1172948"/>
                <a:ext cx="49056" cy="36792"/>
              </a:xfrm>
              <a:custGeom>
                <a:avLst/>
                <a:gdLst>
                  <a:gd name="connsiteX0" fmla="*/ 24620 w 49055"/>
                  <a:gd name="connsiteY0" fmla="*/ 836 h 36791"/>
                  <a:gd name="connsiteX1" fmla="*/ 836 w 49055"/>
                  <a:gd name="connsiteY1" fmla="*/ 18675 h 36791"/>
                  <a:gd name="connsiteX2" fmla="*/ 24620 w 49055"/>
                  <a:gd name="connsiteY2" fmla="*/ 36513 h 36791"/>
                  <a:gd name="connsiteX3" fmla="*/ 48405 w 49055"/>
                  <a:gd name="connsiteY3" fmla="*/ 18675 h 36791"/>
                  <a:gd name="connsiteX4" fmla="*/ 24620 w 49055"/>
                  <a:gd name="connsiteY4" fmla="*/ 836 h 36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55" h="36791">
                    <a:moveTo>
                      <a:pt x="24620" y="836"/>
                    </a:moveTo>
                    <a:cubicBezTo>
                      <a:pt x="10847" y="836"/>
                      <a:pt x="836" y="8338"/>
                      <a:pt x="836" y="18675"/>
                    </a:cubicBezTo>
                    <a:cubicBezTo>
                      <a:pt x="836" y="29011"/>
                      <a:pt x="10847" y="36513"/>
                      <a:pt x="24620" y="36513"/>
                    </a:cubicBezTo>
                    <a:cubicBezTo>
                      <a:pt x="38394" y="36513"/>
                      <a:pt x="48405" y="29011"/>
                      <a:pt x="48405" y="18675"/>
                    </a:cubicBezTo>
                    <a:cubicBezTo>
                      <a:pt x="48405" y="8339"/>
                      <a:pt x="38394" y="836"/>
                      <a:pt x="24620" y="836"/>
                    </a:cubicBezTo>
                    <a:close/>
                  </a:path>
                </a:pathLst>
              </a:custGeom>
              <a:grpFill/>
              <a:ln w="9525" cap="flat">
                <a:noFill/>
                <a:prstDash val="solid"/>
                <a:miter/>
              </a:ln>
            </p:spPr>
            <p:txBody>
              <a:bodyPr rtlCol="0" anchor="ctr"/>
              <a:lstStyle/>
              <a:p>
                <a:endParaRPr lang="es-MX"/>
              </a:p>
            </p:txBody>
          </p:sp>
          <p:sp>
            <p:nvSpPr>
              <p:cNvPr id="48" name="Forma libre 191">
                <a:extLst>
                  <a:ext uri="{FF2B5EF4-FFF2-40B4-BE49-F238E27FC236}">
                    <a16:creationId xmlns:a16="http://schemas.microsoft.com/office/drawing/2014/main" id="{8C6EB439-68C7-9ADC-483A-C26960FB5F3F}"/>
                  </a:ext>
                </a:extLst>
              </p:cNvPr>
              <p:cNvSpPr/>
              <p:nvPr/>
            </p:nvSpPr>
            <p:spPr>
              <a:xfrm>
                <a:off x="3124034" y="1172948"/>
                <a:ext cx="49056" cy="36792"/>
              </a:xfrm>
              <a:custGeom>
                <a:avLst/>
                <a:gdLst>
                  <a:gd name="connsiteX0" fmla="*/ 24620 w 49055"/>
                  <a:gd name="connsiteY0" fmla="*/ 836 h 36791"/>
                  <a:gd name="connsiteX1" fmla="*/ 836 w 49055"/>
                  <a:gd name="connsiteY1" fmla="*/ 18675 h 36791"/>
                  <a:gd name="connsiteX2" fmla="*/ 24620 w 49055"/>
                  <a:gd name="connsiteY2" fmla="*/ 36513 h 36791"/>
                  <a:gd name="connsiteX3" fmla="*/ 48405 w 49055"/>
                  <a:gd name="connsiteY3" fmla="*/ 18675 h 36791"/>
                  <a:gd name="connsiteX4" fmla="*/ 24620 w 49055"/>
                  <a:gd name="connsiteY4" fmla="*/ 836 h 36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55" h="36791">
                    <a:moveTo>
                      <a:pt x="24620" y="836"/>
                    </a:moveTo>
                    <a:cubicBezTo>
                      <a:pt x="10847" y="836"/>
                      <a:pt x="836" y="8338"/>
                      <a:pt x="836" y="18675"/>
                    </a:cubicBezTo>
                    <a:cubicBezTo>
                      <a:pt x="836" y="29011"/>
                      <a:pt x="10847" y="36513"/>
                      <a:pt x="24620" y="36513"/>
                    </a:cubicBezTo>
                    <a:cubicBezTo>
                      <a:pt x="38394" y="36513"/>
                      <a:pt x="48405" y="29011"/>
                      <a:pt x="48405" y="18675"/>
                    </a:cubicBezTo>
                    <a:cubicBezTo>
                      <a:pt x="48405" y="8339"/>
                      <a:pt x="38394" y="836"/>
                      <a:pt x="24620" y="836"/>
                    </a:cubicBezTo>
                    <a:close/>
                  </a:path>
                </a:pathLst>
              </a:custGeom>
              <a:grpFill/>
              <a:ln w="9525" cap="flat">
                <a:noFill/>
                <a:prstDash val="solid"/>
                <a:miter/>
              </a:ln>
            </p:spPr>
            <p:txBody>
              <a:bodyPr rtlCol="0" anchor="ctr"/>
              <a:lstStyle/>
              <a:p>
                <a:endParaRPr lang="es-MX"/>
              </a:p>
            </p:txBody>
          </p:sp>
          <p:sp>
            <p:nvSpPr>
              <p:cNvPr id="49" name="Forma libre 192">
                <a:extLst>
                  <a:ext uri="{FF2B5EF4-FFF2-40B4-BE49-F238E27FC236}">
                    <a16:creationId xmlns:a16="http://schemas.microsoft.com/office/drawing/2014/main" id="{2D910D95-A3B2-3CDE-B18B-5F0D1B8D987A}"/>
                  </a:ext>
                </a:extLst>
              </p:cNvPr>
              <p:cNvSpPr/>
              <p:nvPr/>
            </p:nvSpPr>
            <p:spPr>
              <a:xfrm>
                <a:off x="3052680" y="1089703"/>
                <a:ext cx="49056" cy="36792"/>
              </a:xfrm>
              <a:custGeom>
                <a:avLst/>
                <a:gdLst>
                  <a:gd name="connsiteX0" fmla="*/ 24620 w 49055"/>
                  <a:gd name="connsiteY0" fmla="*/ 836 h 36791"/>
                  <a:gd name="connsiteX1" fmla="*/ 836 w 49055"/>
                  <a:gd name="connsiteY1" fmla="*/ 18675 h 36791"/>
                  <a:gd name="connsiteX2" fmla="*/ 24620 w 49055"/>
                  <a:gd name="connsiteY2" fmla="*/ 36513 h 36791"/>
                  <a:gd name="connsiteX3" fmla="*/ 48405 w 49055"/>
                  <a:gd name="connsiteY3" fmla="*/ 18675 h 36791"/>
                  <a:gd name="connsiteX4" fmla="*/ 24620 w 49055"/>
                  <a:gd name="connsiteY4" fmla="*/ 836 h 36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55" h="36791">
                    <a:moveTo>
                      <a:pt x="24620" y="836"/>
                    </a:moveTo>
                    <a:cubicBezTo>
                      <a:pt x="10847" y="836"/>
                      <a:pt x="836" y="8338"/>
                      <a:pt x="836" y="18675"/>
                    </a:cubicBezTo>
                    <a:cubicBezTo>
                      <a:pt x="836" y="29011"/>
                      <a:pt x="10847" y="36513"/>
                      <a:pt x="24620" y="36513"/>
                    </a:cubicBezTo>
                    <a:cubicBezTo>
                      <a:pt x="38394" y="36513"/>
                      <a:pt x="48405" y="29011"/>
                      <a:pt x="48405" y="18675"/>
                    </a:cubicBezTo>
                    <a:cubicBezTo>
                      <a:pt x="48405" y="8338"/>
                      <a:pt x="38394" y="836"/>
                      <a:pt x="24620" y="836"/>
                    </a:cubicBezTo>
                    <a:close/>
                  </a:path>
                </a:pathLst>
              </a:custGeom>
              <a:grpFill/>
              <a:ln w="9525" cap="flat">
                <a:noFill/>
                <a:prstDash val="solid"/>
                <a:miter/>
              </a:ln>
            </p:spPr>
            <p:txBody>
              <a:bodyPr rtlCol="0" anchor="ctr"/>
              <a:lstStyle/>
              <a:p>
                <a:endParaRPr lang="es-MX"/>
              </a:p>
            </p:txBody>
          </p:sp>
          <p:sp>
            <p:nvSpPr>
              <p:cNvPr id="50" name="Forma libre 193">
                <a:extLst>
                  <a:ext uri="{FF2B5EF4-FFF2-40B4-BE49-F238E27FC236}">
                    <a16:creationId xmlns:a16="http://schemas.microsoft.com/office/drawing/2014/main" id="{10AB4003-C28B-5328-5BC2-B4285617AAD9}"/>
                  </a:ext>
                </a:extLst>
              </p:cNvPr>
              <p:cNvSpPr/>
              <p:nvPr/>
            </p:nvSpPr>
            <p:spPr>
              <a:xfrm>
                <a:off x="3124034" y="1089703"/>
                <a:ext cx="49056" cy="36792"/>
              </a:xfrm>
              <a:custGeom>
                <a:avLst/>
                <a:gdLst>
                  <a:gd name="connsiteX0" fmla="*/ 24620 w 49055"/>
                  <a:gd name="connsiteY0" fmla="*/ 836 h 36791"/>
                  <a:gd name="connsiteX1" fmla="*/ 836 w 49055"/>
                  <a:gd name="connsiteY1" fmla="*/ 18675 h 36791"/>
                  <a:gd name="connsiteX2" fmla="*/ 24620 w 49055"/>
                  <a:gd name="connsiteY2" fmla="*/ 36513 h 36791"/>
                  <a:gd name="connsiteX3" fmla="*/ 48405 w 49055"/>
                  <a:gd name="connsiteY3" fmla="*/ 18675 h 36791"/>
                  <a:gd name="connsiteX4" fmla="*/ 24620 w 49055"/>
                  <a:gd name="connsiteY4" fmla="*/ 836 h 36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55" h="36791">
                    <a:moveTo>
                      <a:pt x="24620" y="836"/>
                    </a:moveTo>
                    <a:cubicBezTo>
                      <a:pt x="10847" y="836"/>
                      <a:pt x="836" y="8338"/>
                      <a:pt x="836" y="18675"/>
                    </a:cubicBezTo>
                    <a:cubicBezTo>
                      <a:pt x="836" y="29011"/>
                      <a:pt x="10847" y="36513"/>
                      <a:pt x="24620" y="36513"/>
                    </a:cubicBezTo>
                    <a:cubicBezTo>
                      <a:pt x="38394" y="36513"/>
                      <a:pt x="48405" y="29011"/>
                      <a:pt x="48405" y="18675"/>
                    </a:cubicBezTo>
                    <a:cubicBezTo>
                      <a:pt x="48405" y="8338"/>
                      <a:pt x="38394" y="836"/>
                      <a:pt x="24620" y="836"/>
                    </a:cubicBezTo>
                    <a:close/>
                  </a:path>
                </a:pathLst>
              </a:custGeom>
              <a:grpFill/>
              <a:ln w="9525" cap="flat">
                <a:noFill/>
                <a:prstDash val="solid"/>
                <a:miter/>
              </a:ln>
            </p:spPr>
            <p:txBody>
              <a:bodyPr rtlCol="0" anchor="ctr"/>
              <a:lstStyle/>
              <a:p>
                <a:endParaRPr lang="es-MX"/>
              </a:p>
            </p:txBody>
          </p:sp>
          <p:sp>
            <p:nvSpPr>
              <p:cNvPr id="51" name="Forma libre 194">
                <a:extLst>
                  <a:ext uri="{FF2B5EF4-FFF2-40B4-BE49-F238E27FC236}">
                    <a16:creationId xmlns:a16="http://schemas.microsoft.com/office/drawing/2014/main" id="{549A18DC-7DCF-5994-465E-E907DABC3469}"/>
                  </a:ext>
                </a:extLst>
              </p:cNvPr>
              <p:cNvSpPr/>
              <p:nvPr/>
            </p:nvSpPr>
            <p:spPr>
              <a:xfrm>
                <a:off x="3183495" y="1131326"/>
                <a:ext cx="49056" cy="36792"/>
              </a:xfrm>
              <a:custGeom>
                <a:avLst/>
                <a:gdLst>
                  <a:gd name="connsiteX0" fmla="*/ 24620 w 49055"/>
                  <a:gd name="connsiteY0" fmla="*/ 836 h 36791"/>
                  <a:gd name="connsiteX1" fmla="*/ 836 w 49055"/>
                  <a:gd name="connsiteY1" fmla="*/ 18675 h 36791"/>
                  <a:gd name="connsiteX2" fmla="*/ 24620 w 49055"/>
                  <a:gd name="connsiteY2" fmla="*/ 36513 h 36791"/>
                  <a:gd name="connsiteX3" fmla="*/ 48405 w 49055"/>
                  <a:gd name="connsiteY3" fmla="*/ 18675 h 36791"/>
                  <a:gd name="connsiteX4" fmla="*/ 24620 w 49055"/>
                  <a:gd name="connsiteY4" fmla="*/ 836 h 36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55" h="36791">
                    <a:moveTo>
                      <a:pt x="24620" y="836"/>
                    </a:moveTo>
                    <a:cubicBezTo>
                      <a:pt x="10847" y="836"/>
                      <a:pt x="836" y="8338"/>
                      <a:pt x="836" y="18675"/>
                    </a:cubicBezTo>
                    <a:cubicBezTo>
                      <a:pt x="836" y="29011"/>
                      <a:pt x="10847" y="36513"/>
                      <a:pt x="24620" y="36513"/>
                    </a:cubicBezTo>
                    <a:cubicBezTo>
                      <a:pt x="38394" y="36513"/>
                      <a:pt x="48405" y="29011"/>
                      <a:pt x="48405" y="18675"/>
                    </a:cubicBezTo>
                    <a:cubicBezTo>
                      <a:pt x="48405" y="8338"/>
                      <a:pt x="38395" y="836"/>
                      <a:pt x="24620" y="836"/>
                    </a:cubicBezTo>
                    <a:close/>
                  </a:path>
                </a:pathLst>
              </a:custGeom>
              <a:grpFill/>
              <a:ln w="9525" cap="flat">
                <a:noFill/>
                <a:prstDash val="solid"/>
                <a:miter/>
              </a:ln>
            </p:spPr>
            <p:txBody>
              <a:bodyPr rtlCol="0" anchor="ctr"/>
              <a:lstStyle/>
              <a:p>
                <a:endParaRPr lang="es-MX"/>
              </a:p>
            </p:txBody>
          </p:sp>
        </p:grpSp>
      </p:grpSp>
      <p:sp>
        <p:nvSpPr>
          <p:cNvPr id="14" name="TextBox 13">
            <a:extLst>
              <a:ext uri="{FF2B5EF4-FFF2-40B4-BE49-F238E27FC236}">
                <a16:creationId xmlns:a16="http://schemas.microsoft.com/office/drawing/2014/main" id="{9D647367-44A2-AFE7-5C7C-89B99AACBE64}"/>
              </a:ext>
            </a:extLst>
          </p:cNvPr>
          <p:cNvSpPr txBox="1"/>
          <p:nvPr/>
        </p:nvSpPr>
        <p:spPr>
          <a:xfrm>
            <a:off x="5402180" y="1410946"/>
            <a:ext cx="6163621" cy="3693319"/>
          </a:xfrm>
          <a:prstGeom prst="rect">
            <a:avLst/>
          </a:prstGeom>
          <a:noFill/>
        </p:spPr>
        <p:txBody>
          <a:bodyPr wrap="square" rtlCol="0">
            <a:spAutoFit/>
          </a:bodyPr>
          <a:lstStyle/>
          <a:p>
            <a:pPr marL="285750" indent="-285750">
              <a:buFont typeface="Arial" panose="020B0604020202020204" pitchFamily="34" charset="0"/>
              <a:buChar char="•"/>
            </a:pPr>
            <a:r>
              <a:rPr lang="mn-MN" dirty="0"/>
              <a:t>Улаанбаатар хотын иргэдээс судалгаанд оролцогчдыг санамсаргүй түүврийн аргаар сонгов.</a:t>
            </a: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mn-MN" dirty="0"/>
              <a:t>Хүн ам зүйн байдал, онцлогийг харгалзан үзэв.</a:t>
            </a: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mn-MN" dirty="0"/>
              <a:t>Хог хаягдал болон хог хаягдлыг дахин ашиглах талаар тэдний мэдлэг, хандлагын талаар асуув.</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mn-MN" dirty="0"/>
              <a:t>Цуглуулсан мэдээлэл, өгөгдлийг тус тусад нь болон хамтатган судлав.</a:t>
            </a: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mn-MN" dirty="0"/>
              <a:t>Судалгаанд оролцогсдын жендерийн асуудлыг судалгааны тайланд хамруулсан болно.</a:t>
            </a:r>
            <a:endParaRPr lang="en-GB" dirty="0"/>
          </a:p>
        </p:txBody>
      </p:sp>
    </p:spTree>
    <p:extLst>
      <p:ext uri="{BB962C8B-B14F-4D97-AF65-F5344CB8AC3E}">
        <p14:creationId xmlns:p14="http://schemas.microsoft.com/office/powerpoint/2010/main" val="2309728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274A8-8DFD-A021-8586-86D2BC83313E}"/>
              </a:ext>
            </a:extLst>
          </p:cNvPr>
          <p:cNvSpPr>
            <a:spLocks noGrp="1"/>
          </p:cNvSpPr>
          <p:nvPr>
            <p:ph type="title"/>
          </p:nvPr>
        </p:nvSpPr>
        <p:spPr/>
        <p:txBody>
          <a:bodyPr>
            <a:normAutofit/>
          </a:bodyPr>
          <a:lstStyle/>
          <a:p>
            <a:r>
              <a:rPr lang="mn-MN" sz="3200" dirty="0"/>
              <a:t>ХҮНСНИЙ ХАЯГДЛЫГ ДАХИН БОЛОВСРУУЛАХ ТАЛААР ХАНДЛАГА</a:t>
            </a:r>
            <a:endParaRPr lang="en-GB" sz="3200" dirty="0"/>
          </a:p>
        </p:txBody>
      </p:sp>
      <p:sp>
        <p:nvSpPr>
          <p:cNvPr id="9" name="Text Placeholder 8">
            <a:extLst>
              <a:ext uri="{FF2B5EF4-FFF2-40B4-BE49-F238E27FC236}">
                <a16:creationId xmlns:a16="http://schemas.microsoft.com/office/drawing/2014/main" id="{F044BD8F-06D5-1B3D-5ECE-074CF9470F48}"/>
              </a:ext>
            </a:extLst>
          </p:cNvPr>
          <p:cNvSpPr>
            <a:spLocks noGrp="1"/>
          </p:cNvSpPr>
          <p:nvPr>
            <p:ph type="body" idx="1"/>
          </p:nvPr>
        </p:nvSpPr>
        <p:spPr>
          <a:xfrm>
            <a:off x="733642" y="1714503"/>
            <a:ext cx="2729157" cy="412948"/>
          </a:xfrm>
        </p:spPr>
        <p:txBody>
          <a:bodyPr>
            <a:normAutofit fontScale="70000" lnSpcReduction="20000"/>
          </a:bodyPr>
          <a:lstStyle/>
          <a:p>
            <a:pPr algn="ctr"/>
            <a:r>
              <a:rPr lang="mn-MN" dirty="0"/>
              <a:t>ТА ХАЯГДЛАА ДАХИН АНГЛДАГ УУ</a:t>
            </a:r>
            <a:r>
              <a:rPr lang="en-GB" dirty="0"/>
              <a:t>?</a:t>
            </a:r>
          </a:p>
        </p:txBody>
      </p:sp>
      <p:pic>
        <p:nvPicPr>
          <p:cNvPr id="8" name="Content Placeholder 7">
            <a:extLst>
              <a:ext uri="{FF2B5EF4-FFF2-40B4-BE49-F238E27FC236}">
                <a16:creationId xmlns:a16="http://schemas.microsoft.com/office/drawing/2014/main" id="{CA2F7CDC-4FFD-E179-16C7-2DDB7CA333D1}"/>
              </a:ext>
            </a:extLst>
          </p:cNvPr>
          <p:cNvPicPr>
            <a:picLocks noGrp="1" noChangeAspect="1"/>
          </p:cNvPicPr>
          <p:nvPr>
            <p:ph sz="half" idx="2"/>
          </p:nvPr>
        </p:nvPicPr>
        <p:blipFill>
          <a:blip r:embed="rId2"/>
          <a:stretch>
            <a:fillRect/>
          </a:stretch>
        </p:blipFill>
        <p:spPr>
          <a:xfrm>
            <a:off x="671975" y="2286000"/>
            <a:ext cx="2790825" cy="2286000"/>
          </a:xfrm>
        </p:spPr>
      </p:pic>
      <p:sp>
        <p:nvSpPr>
          <p:cNvPr id="10" name="Text Placeholder 9">
            <a:extLst>
              <a:ext uri="{FF2B5EF4-FFF2-40B4-BE49-F238E27FC236}">
                <a16:creationId xmlns:a16="http://schemas.microsoft.com/office/drawing/2014/main" id="{2180BFB3-7064-BE16-6651-5496C6D87843}"/>
              </a:ext>
            </a:extLst>
          </p:cNvPr>
          <p:cNvSpPr>
            <a:spLocks noGrp="1"/>
          </p:cNvSpPr>
          <p:nvPr>
            <p:ph type="body" sz="quarter" idx="3"/>
          </p:nvPr>
        </p:nvSpPr>
        <p:spPr>
          <a:xfrm>
            <a:off x="5980177" y="987573"/>
            <a:ext cx="5183188" cy="387706"/>
          </a:xfrm>
        </p:spPr>
        <p:txBody>
          <a:bodyPr>
            <a:normAutofit fontScale="70000" lnSpcReduction="20000"/>
          </a:bodyPr>
          <a:lstStyle/>
          <a:p>
            <a:pPr algn="ctr"/>
            <a:r>
              <a:rPr lang="mn-MN" dirty="0"/>
              <a:t>ТА ЯМАР ХАЯГДЛЫГ ДАХИН БОЛОВСРУУЛАГ ВЭ</a:t>
            </a:r>
            <a:r>
              <a:rPr lang="en-GB" dirty="0"/>
              <a:t>?</a:t>
            </a:r>
          </a:p>
        </p:txBody>
      </p:sp>
      <p:sp>
        <p:nvSpPr>
          <p:cNvPr id="4" name="Slide Number Placeholder 3">
            <a:extLst>
              <a:ext uri="{FF2B5EF4-FFF2-40B4-BE49-F238E27FC236}">
                <a16:creationId xmlns:a16="http://schemas.microsoft.com/office/drawing/2014/main" id="{98C7E14B-DCF8-E03B-78E7-2869D8CE362E}"/>
              </a:ext>
            </a:extLst>
          </p:cNvPr>
          <p:cNvSpPr>
            <a:spLocks noGrp="1"/>
          </p:cNvSpPr>
          <p:nvPr>
            <p:ph type="sldNum" sz="quarter" idx="12"/>
          </p:nvPr>
        </p:nvSpPr>
        <p:spPr/>
        <p:txBody>
          <a:bodyPr/>
          <a:lstStyle/>
          <a:p>
            <a:fld id="{22BD14A0-459B-CA46-A763-3163F186A6C2}" type="slidenum">
              <a:rPr lang="en-US" smtClean="0"/>
              <a:t>34</a:t>
            </a:fld>
            <a:endParaRPr lang="en-US"/>
          </a:p>
        </p:txBody>
      </p:sp>
      <p:sp>
        <p:nvSpPr>
          <p:cNvPr id="12" name="TextBox 11">
            <a:extLst>
              <a:ext uri="{FF2B5EF4-FFF2-40B4-BE49-F238E27FC236}">
                <a16:creationId xmlns:a16="http://schemas.microsoft.com/office/drawing/2014/main" id="{C92B2F7C-FA6E-2766-C762-7857C6E914BB}"/>
              </a:ext>
            </a:extLst>
          </p:cNvPr>
          <p:cNvSpPr txBox="1"/>
          <p:nvPr/>
        </p:nvSpPr>
        <p:spPr>
          <a:xfrm>
            <a:off x="916180" y="4725277"/>
            <a:ext cx="938744" cy="369332"/>
          </a:xfrm>
          <a:prstGeom prst="rect">
            <a:avLst/>
          </a:prstGeom>
          <a:noFill/>
        </p:spPr>
        <p:txBody>
          <a:bodyPr wrap="square" rtlCol="0">
            <a:spAutoFit/>
          </a:bodyPr>
          <a:lstStyle/>
          <a:p>
            <a:pPr algn="ctr"/>
            <a:r>
              <a:rPr lang="mn-MN" dirty="0"/>
              <a:t>ТИЙМ</a:t>
            </a:r>
            <a:endParaRPr lang="en-GB" dirty="0"/>
          </a:p>
        </p:txBody>
      </p:sp>
      <p:sp>
        <p:nvSpPr>
          <p:cNvPr id="13" name="TextBox 12">
            <a:extLst>
              <a:ext uri="{FF2B5EF4-FFF2-40B4-BE49-F238E27FC236}">
                <a16:creationId xmlns:a16="http://schemas.microsoft.com/office/drawing/2014/main" id="{393B26EA-421E-254C-F404-7F90DBE76525}"/>
              </a:ext>
            </a:extLst>
          </p:cNvPr>
          <p:cNvSpPr txBox="1"/>
          <p:nvPr/>
        </p:nvSpPr>
        <p:spPr>
          <a:xfrm>
            <a:off x="2417134" y="4725277"/>
            <a:ext cx="1045665" cy="369332"/>
          </a:xfrm>
          <a:prstGeom prst="rect">
            <a:avLst/>
          </a:prstGeom>
          <a:noFill/>
        </p:spPr>
        <p:txBody>
          <a:bodyPr wrap="square" rtlCol="0">
            <a:spAutoFit/>
          </a:bodyPr>
          <a:lstStyle/>
          <a:p>
            <a:pPr algn="ctr"/>
            <a:r>
              <a:rPr lang="mn-MN" dirty="0"/>
              <a:t>ҮГҮЙ</a:t>
            </a:r>
            <a:endParaRPr lang="en-GB" dirty="0"/>
          </a:p>
        </p:txBody>
      </p:sp>
      <p:sp>
        <p:nvSpPr>
          <p:cNvPr id="11" name="TextBox 10">
            <a:extLst>
              <a:ext uri="{FF2B5EF4-FFF2-40B4-BE49-F238E27FC236}">
                <a16:creationId xmlns:a16="http://schemas.microsoft.com/office/drawing/2014/main" id="{01DC4E58-B225-4414-B3A8-321B8B1106FB}"/>
              </a:ext>
            </a:extLst>
          </p:cNvPr>
          <p:cNvSpPr txBox="1"/>
          <p:nvPr/>
        </p:nvSpPr>
        <p:spPr>
          <a:xfrm>
            <a:off x="544350" y="5172437"/>
            <a:ext cx="3456367" cy="646331"/>
          </a:xfrm>
          <a:prstGeom prst="rect">
            <a:avLst/>
          </a:prstGeom>
          <a:noFill/>
        </p:spPr>
        <p:txBody>
          <a:bodyPr wrap="square" rtlCol="0">
            <a:spAutoFit/>
          </a:bodyPr>
          <a:lstStyle/>
          <a:p>
            <a:pPr algn="ctr"/>
            <a:r>
              <a:rPr lang="mn-MN" dirty="0">
                <a:solidFill>
                  <a:schemeClr val="accent2">
                    <a:lumMod val="75000"/>
                  </a:schemeClr>
                </a:solidFill>
              </a:rPr>
              <a:t>Хүйсийн хувьд үүнд бараг ялгаагүй хариулав</a:t>
            </a:r>
            <a:endParaRPr lang="en-GB" dirty="0">
              <a:solidFill>
                <a:schemeClr val="accent2">
                  <a:lumMod val="75000"/>
                </a:schemeClr>
              </a:solidFill>
            </a:endParaRPr>
          </a:p>
        </p:txBody>
      </p:sp>
      <p:pic>
        <p:nvPicPr>
          <p:cNvPr id="16" name="Picture 15">
            <a:extLst>
              <a:ext uri="{FF2B5EF4-FFF2-40B4-BE49-F238E27FC236}">
                <a16:creationId xmlns:a16="http://schemas.microsoft.com/office/drawing/2014/main" id="{C85C3A66-A3AB-44C9-83B5-C2FC8DBFCCAC}"/>
              </a:ext>
            </a:extLst>
          </p:cNvPr>
          <p:cNvPicPr>
            <a:picLocks noChangeAspect="1"/>
          </p:cNvPicPr>
          <p:nvPr/>
        </p:nvPicPr>
        <p:blipFill>
          <a:blip r:embed="rId3"/>
          <a:stretch>
            <a:fillRect/>
          </a:stretch>
        </p:blipFill>
        <p:spPr>
          <a:xfrm>
            <a:off x="4288593" y="1324607"/>
            <a:ext cx="7231432" cy="4291595"/>
          </a:xfrm>
          <a:prstGeom prst="rect">
            <a:avLst/>
          </a:prstGeom>
        </p:spPr>
      </p:pic>
      <p:sp>
        <p:nvSpPr>
          <p:cNvPr id="17" name="Rectangle: Rounded Corners 16">
            <a:extLst>
              <a:ext uri="{FF2B5EF4-FFF2-40B4-BE49-F238E27FC236}">
                <a16:creationId xmlns:a16="http://schemas.microsoft.com/office/drawing/2014/main" id="{35360376-D54F-4878-9AD7-71AA7352DDFC}"/>
              </a:ext>
            </a:extLst>
          </p:cNvPr>
          <p:cNvSpPr/>
          <p:nvPr/>
        </p:nvSpPr>
        <p:spPr>
          <a:xfrm>
            <a:off x="9547271" y="4467757"/>
            <a:ext cx="1329276" cy="338243"/>
          </a:xfrm>
          <a:prstGeom prst="roundRect">
            <a:avLst/>
          </a:prstGeom>
          <a:no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34843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58F4C-8710-59B1-F069-2D1A252F0A66}"/>
              </a:ext>
            </a:extLst>
          </p:cNvPr>
          <p:cNvSpPr>
            <a:spLocks noGrp="1"/>
          </p:cNvSpPr>
          <p:nvPr>
            <p:ph type="title"/>
          </p:nvPr>
        </p:nvSpPr>
        <p:spPr>
          <a:xfrm>
            <a:off x="360000" y="360000"/>
            <a:ext cx="9208206" cy="610961"/>
          </a:xfrm>
        </p:spPr>
        <p:txBody>
          <a:bodyPr>
            <a:normAutofit/>
          </a:bodyPr>
          <a:lstStyle/>
          <a:p>
            <a:r>
              <a:rPr lang="mn-MN" sz="3200" dirty="0"/>
              <a:t>ХҮМҮҮС ЯАГААД ХОГОО АНГИЛДАГГҮЙ ВЭ</a:t>
            </a:r>
            <a:endParaRPr lang="en-GB" sz="3200" dirty="0"/>
          </a:p>
        </p:txBody>
      </p:sp>
      <p:sp>
        <p:nvSpPr>
          <p:cNvPr id="7" name="Slide Number Placeholder 6">
            <a:extLst>
              <a:ext uri="{FF2B5EF4-FFF2-40B4-BE49-F238E27FC236}">
                <a16:creationId xmlns:a16="http://schemas.microsoft.com/office/drawing/2014/main" id="{3EAD6D29-06FC-8255-4ACB-AE2334887FAD}"/>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22BD14A0-459B-CA46-A763-3163F186A6C2}" type="slidenum">
              <a:rPr kumimoji="0" lang="en-US" sz="1000" b="0" i="0" u="none" strike="noStrike" kern="1200" cap="none" spc="0" normalizeH="0" baseline="0" noProof="0" smtClean="0">
                <a:ln>
                  <a:noFill/>
                </a:ln>
                <a:solidFill>
                  <a:srgbClr val="000000">
                    <a:lumMod val="50000"/>
                    <a:lumOff val="50000"/>
                  </a:srgbClr>
                </a:solidFill>
                <a:effectLst/>
                <a:uLnTx/>
                <a:uFillTx/>
                <a:latin typeface="Tahoma"/>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a:ln>
                <a:noFill/>
              </a:ln>
              <a:solidFill>
                <a:srgbClr val="000000">
                  <a:lumMod val="50000"/>
                  <a:lumOff val="50000"/>
                </a:srgbClr>
              </a:solidFill>
              <a:effectLst/>
              <a:uLnTx/>
              <a:uFillTx/>
              <a:latin typeface="Tahoma"/>
              <a:ea typeface="+mn-ea"/>
              <a:cs typeface="+mn-cs"/>
            </a:endParaRPr>
          </a:p>
        </p:txBody>
      </p:sp>
      <p:sp>
        <p:nvSpPr>
          <p:cNvPr id="12" name="Content Placeholder 4">
            <a:extLst>
              <a:ext uri="{FF2B5EF4-FFF2-40B4-BE49-F238E27FC236}">
                <a16:creationId xmlns:a16="http://schemas.microsoft.com/office/drawing/2014/main" id="{EECAC881-C2C2-3862-60ED-EA9B1AFEEBEF}"/>
              </a:ext>
            </a:extLst>
          </p:cNvPr>
          <p:cNvSpPr txBox="1">
            <a:spLocks/>
          </p:cNvSpPr>
          <p:nvPr/>
        </p:nvSpPr>
        <p:spPr>
          <a:xfrm>
            <a:off x="8987589" y="1692000"/>
            <a:ext cx="2885104" cy="2927460"/>
          </a:xfrm>
          <a:prstGeom prst="rect">
            <a:avLst/>
          </a:prstGeom>
        </p:spPr>
        <p:txBody>
          <a:bodyPr vert="horz" lIns="0" tIns="0" rIns="0" bIns="0"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50000"/>
              </a:lnSpc>
              <a:buNone/>
            </a:pPr>
            <a:r>
              <a:rPr lang="ru-RU" sz="2000" dirty="0">
                <a:solidFill>
                  <a:srgbClr val="00A3AD">
                    <a:lumMod val="75000"/>
                  </a:srgbClr>
                </a:solidFill>
                <a:latin typeface="Tahoma"/>
              </a:rPr>
              <a:t>Судалгаанд оролцогчдын дийлэнх нь</a:t>
            </a:r>
            <a:r>
              <a:rPr lang="mn-MN" sz="2000" dirty="0">
                <a:solidFill>
                  <a:srgbClr val="00A3AD">
                    <a:lumMod val="75000"/>
                  </a:srgbClr>
                </a:solidFill>
                <a:latin typeface="Tahoma"/>
              </a:rPr>
              <a:t> буюу </a:t>
            </a:r>
          </a:p>
          <a:p>
            <a:pPr marL="0" indent="0" algn="ctr">
              <a:lnSpc>
                <a:spcPct val="150000"/>
              </a:lnSpc>
              <a:buNone/>
            </a:pPr>
            <a:r>
              <a:rPr lang="en-GB" sz="2900" b="1" dirty="0">
                <a:solidFill>
                  <a:srgbClr val="00A3AD">
                    <a:lumMod val="75000"/>
                  </a:srgbClr>
                </a:solidFill>
              </a:rPr>
              <a:t>73%</a:t>
            </a:r>
          </a:p>
          <a:p>
            <a:pPr marL="0" marR="0" lvl="0" indent="0" algn="ctr"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lang="ru-RU" sz="2000" dirty="0">
                <a:solidFill>
                  <a:srgbClr val="00A3AD">
                    <a:lumMod val="75000"/>
                  </a:srgbClr>
                </a:solidFill>
                <a:latin typeface="Tahoma"/>
              </a:rPr>
              <a:t> </a:t>
            </a:r>
            <a:r>
              <a:rPr lang="mn-MN" sz="2000" dirty="0">
                <a:solidFill>
                  <a:srgbClr val="00A3AD">
                    <a:lumMod val="75000"/>
                  </a:srgbClr>
                </a:solidFill>
                <a:latin typeface="Tahoma"/>
              </a:rPr>
              <a:t>нь </a:t>
            </a:r>
            <a:r>
              <a:rPr lang="ru-RU" sz="2000" dirty="0">
                <a:solidFill>
                  <a:srgbClr val="00A3AD">
                    <a:lumMod val="75000"/>
                  </a:srgbClr>
                </a:solidFill>
                <a:latin typeface="Tahoma"/>
              </a:rPr>
              <a:t>Улаанбаатар хотын хог хаягдлын менежментэд сэтгэл дундуур байна</a:t>
            </a:r>
            <a:endParaRPr lang="en-GB" sz="2000" dirty="0">
              <a:solidFill>
                <a:srgbClr val="00A3AD">
                  <a:lumMod val="75000"/>
                </a:srgbClr>
              </a:solidFill>
              <a:latin typeface="Tahoma"/>
            </a:endParaRPr>
          </a:p>
        </p:txBody>
      </p:sp>
      <p:pic>
        <p:nvPicPr>
          <p:cNvPr id="6" name="Picture 5">
            <a:extLst>
              <a:ext uri="{FF2B5EF4-FFF2-40B4-BE49-F238E27FC236}">
                <a16:creationId xmlns:a16="http://schemas.microsoft.com/office/drawing/2014/main" id="{29FDC716-9DBF-4EE5-A506-47AC7D9AF5D7}"/>
              </a:ext>
            </a:extLst>
          </p:cNvPr>
          <p:cNvPicPr>
            <a:picLocks noChangeAspect="1"/>
          </p:cNvPicPr>
          <p:nvPr/>
        </p:nvPicPr>
        <p:blipFill>
          <a:blip r:embed="rId2"/>
          <a:stretch>
            <a:fillRect/>
          </a:stretch>
        </p:blipFill>
        <p:spPr>
          <a:xfrm>
            <a:off x="360000" y="1409196"/>
            <a:ext cx="8230547" cy="3752915"/>
          </a:xfrm>
          <a:prstGeom prst="rect">
            <a:avLst/>
          </a:prstGeom>
        </p:spPr>
      </p:pic>
    </p:spTree>
    <p:extLst>
      <p:ext uri="{BB962C8B-B14F-4D97-AF65-F5344CB8AC3E}">
        <p14:creationId xmlns:p14="http://schemas.microsoft.com/office/powerpoint/2010/main" val="15539665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ECF1E-E2EE-D0F2-76CE-243CE9BF1CC1}"/>
              </a:ext>
            </a:extLst>
          </p:cNvPr>
          <p:cNvSpPr>
            <a:spLocks noGrp="1"/>
          </p:cNvSpPr>
          <p:nvPr>
            <p:ph type="title"/>
          </p:nvPr>
        </p:nvSpPr>
        <p:spPr>
          <a:xfrm>
            <a:off x="359999" y="360000"/>
            <a:ext cx="10877495" cy="1216137"/>
          </a:xfrm>
        </p:spPr>
        <p:txBody>
          <a:bodyPr>
            <a:normAutofit/>
          </a:bodyPr>
          <a:lstStyle/>
          <a:p>
            <a:r>
              <a:rPr lang="mn-MN" sz="3200" dirty="0"/>
              <a:t>ХҮНСНИЙ ХАЯГДЛАА ДАХИН БОЛОВСРУУЛАХАД ДЭМЖЛЭГ БОЛОХ ЗҮЙЛ</a:t>
            </a:r>
            <a:endParaRPr lang="en-GB" sz="3200" dirty="0"/>
          </a:p>
        </p:txBody>
      </p:sp>
      <p:sp>
        <p:nvSpPr>
          <p:cNvPr id="4" name="Slide Number Placeholder 3">
            <a:extLst>
              <a:ext uri="{FF2B5EF4-FFF2-40B4-BE49-F238E27FC236}">
                <a16:creationId xmlns:a16="http://schemas.microsoft.com/office/drawing/2014/main" id="{89A9B0FB-9B75-7CF4-7869-D40868F05520}"/>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22BD14A0-459B-CA46-A763-3163F186A6C2}" type="slidenum">
              <a:rPr kumimoji="0" lang="en-US" sz="1000" b="0" i="0" u="none" strike="noStrike" kern="1200" cap="none" spc="0" normalizeH="0" baseline="0" noProof="0" smtClean="0">
                <a:ln>
                  <a:noFill/>
                </a:ln>
                <a:solidFill>
                  <a:srgbClr val="000000">
                    <a:lumMod val="50000"/>
                    <a:lumOff val="50000"/>
                  </a:srgbClr>
                </a:solidFill>
                <a:effectLst/>
                <a:uLnTx/>
                <a:uFillTx/>
                <a:latin typeface="Tahoma"/>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a:ln>
                <a:noFill/>
              </a:ln>
              <a:solidFill>
                <a:srgbClr val="000000">
                  <a:lumMod val="50000"/>
                  <a:lumOff val="50000"/>
                </a:srgbClr>
              </a:solidFill>
              <a:effectLst/>
              <a:uLnTx/>
              <a:uFillTx/>
              <a:latin typeface="Tahoma"/>
              <a:ea typeface="+mn-ea"/>
              <a:cs typeface="+mn-cs"/>
            </a:endParaRPr>
          </a:p>
        </p:txBody>
      </p:sp>
      <p:sp>
        <p:nvSpPr>
          <p:cNvPr id="10" name="Rectangle 8">
            <a:extLst>
              <a:ext uri="{FF2B5EF4-FFF2-40B4-BE49-F238E27FC236}">
                <a16:creationId xmlns:a16="http://schemas.microsoft.com/office/drawing/2014/main" id="{14E5B724-5966-5440-B325-8830271CC280}"/>
              </a:ext>
            </a:extLst>
          </p:cNvPr>
          <p:cNvSpPr>
            <a:spLocks noChangeArrowheads="1"/>
          </p:cNvSpPr>
          <p:nvPr/>
        </p:nvSpPr>
        <p:spPr bwMode="auto">
          <a:xfrm>
            <a:off x="360000" y="16920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Tahoma"/>
              <a:ea typeface="+mn-ea"/>
              <a:cs typeface="+mn-cs"/>
            </a:endParaRPr>
          </a:p>
        </p:txBody>
      </p:sp>
      <p:sp>
        <p:nvSpPr>
          <p:cNvPr id="13" name="Rectangle 12">
            <a:extLst>
              <a:ext uri="{FF2B5EF4-FFF2-40B4-BE49-F238E27FC236}">
                <a16:creationId xmlns:a16="http://schemas.microsoft.com/office/drawing/2014/main" id="{71F94D7E-99A7-45C4-B69D-647FD478B978}"/>
              </a:ext>
            </a:extLst>
          </p:cNvPr>
          <p:cNvSpPr>
            <a:spLocks noChangeArrowheads="1"/>
          </p:cNvSpPr>
          <p:nvPr/>
        </p:nvSpPr>
        <p:spPr bwMode="auto">
          <a:xfrm>
            <a:off x="152400" y="1524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Tahoma"/>
              <a:ea typeface="+mn-ea"/>
              <a:cs typeface="+mn-cs"/>
            </a:endParaRPr>
          </a:p>
        </p:txBody>
      </p:sp>
      <p:pic>
        <p:nvPicPr>
          <p:cNvPr id="8" name="Picture 7">
            <a:extLst>
              <a:ext uri="{FF2B5EF4-FFF2-40B4-BE49-F238E27FC236}">
                <a16:creationId xmlns:a16="http://schemas.microsoft.com/office/drawing/2014/main" id="{0D9EF39F-9187-413C-A7C4-862D071620E4}"/>
              </a:ext>
            </a:extLst>
          </p:cNvPr>
          <p:cNvPicPr>
            <a:picLocks noChangeAspect="1"/>
          </p:cNvPicPr>
          <p:nvPr/>
        </p:nvPicPr>
        <p:blipFill>
          <a:blip r:embed="rId2"/>
          <a:stretch>
            <a:fillRect/>
          </a:stretch>
        </p:blipFill>
        <p:spPr>
          <a:xfrm>
            <a:off x="690131" y="1379977"/>
            <a:ext cx="10246573" cy="4462054"/>
          </a:xfrm>
          <a:prstGeom prst="rect">
            <a:avLst/>
          </a:prstGeom>
        </p:spPr>
      </p:pic>
    </p:spTree>
    <p:extLst>
      <p:ext uri="{BB962C8B-B14F-4D97-AF65-F5344CB8AC3E}">
        <p14:creationId xmlns:p14="http://schemas.microsoft.com/office/powerpoint/2010/main" val="24033553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5F2F3-20E8-B142-AF0A-8985817D46B9}"/>
              </a:ext>
            </a:extLst>
          </p:cNvPr>
          <p:cNvSpPr>
            <a:spLocks noGrp="1"/>
          </p:cNvSpPr>
          <p:nvPr>
            <p:ph type="title"/>
          </p:nvPr>
        </p:nvSpPr>
        <p:spPr/>
        <p:txBody>
          <a:bodyPr/>
          <a:lstStyle/>
          <a:p>
            <a:r>
              <a:rPr lang="mn-MN" dirty="0"/>
              <a:t>ХҮНС, ХҮНСНИЙ ХАЯГДАЛ</a:t>
            </a:r>
            <a:endParaRPr lang="en-GB" dirty="0"/>
          </a:p>
        </p:txBody>
      </p:sp>
      <p:sp>
        <p:nvSpPr>
          <p:cNvPr id="4" name="Slide Number Placeholder 3">
            <a:extLst>
              <a:ext uri="{FF2B5EF4-FFF2-40B4-BE49-F238E27FC236}">
                <a16:creationId xmlns:a16="http://schemas.microsoft.com/office/drawing/2014/main" id="{A4465DCE-61A2-700F-E18C-13F17C8EB08C}"/>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22BD14A0-459B-CA46-A763-3163F186A6C2}" type="slidenum">
              <a:rPr kumimoji="0" lang="en-US" sz="1000" b="0" i="0" u="none" strike="noStrike" kern="1200" cap="none" spc="0" normalizeH="0" baseline="0" noProof="0" smtClean="0">
                <a:ln>
                  <a:noFill/>
                </a:ln>
                <a:solidFill>
                  <a:srgbClr val="000000">
                    <a:lumMod val="50000"/>
                    <a:lumOff val="50000"/>
                  </a:srgbClr>
                </a:solidFill>
                <a:effectLst/>
                <a:uLnTx/>
                <a:uFillTx/>
                <a:latin typeface="Tahoma"/>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a:ln>
                <a:noFill/>
              </a:ln>
              <a:solidFill>
                <a:srgbClr val="000000">
                  <a:lumMod val="50000"/>
                  <a:lumOff val="50000"/>
                </a:srgbClr>
              </a:solidFill>
              <a:effectLst/>
              <a:uLnTx/>
              <a:uFillTx/>
              <a:latin typeface="Tahoma"/>
              <a:ea typeface="+mn-ea"/>
              <a:cs typeface="+mn-cs"/>
            </a:endParaRPr>
          </a:p>
        </p:txBody>
      </p:sp>
      <p:sp>
        <p:nvSpPr>
          <p:cNvPr id="9" name="TextBox 8">
            <a:extLst>
              <a:ext uri="{FF2B5EF4-FFF2-40B4-BE49-F238E27FC236}">
                <a16:creationId xmlns:a16="http://schemas.microsoft.com/office/drawing/2014/main" id="{D859DF56-91CB-3FA1-4D32-FDAD1D582F97}"/>
              </a:ext>
            </a:extLst>
          </p:cNvPr>
          <p:cNvSpPr txBox="1"/>
          <p:nvPr/>
        </p:nvSpPr>
        <p:spPr>
          <a:xfrm>
            <a:off x="1033526" y="1437309"/>
            <a:ext cx="4604218"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mn-MN" sz="1800" b="0" i="0" u="none" strike="noStrike" kern="1200" cap="none" spc="0" normalizeH="0" baseline="0" noProof="0" dirty="0">
                <a:ln>
                  <a:noFill/>
                </a:ln>
                <a:solidFill>
                  <a:srgbClr val="000000"/>
                </a:solidFill>
                <a:effectLst/>
                <a:uLnTx/>
                <a:uFillTx/>
                <a:latin typeface="Tahoma"/>
                <a:ea typeface="+mn-ea"/>
                <a:cs typeface="+mn-cs"/>
              </a:rPr>
              <a:t>ТАНЫ ХҮНСНИЙ ХЭРЭГЛЭЭНД УЛИРЛЫН ЯЛГАА БИЙ ЮУ</a:t>
            </a:r>
            <a:endParaRPr kumimoji="0" lang="en-GB" sz="1800" b="0" i="0" u="none" strike="noStrike" kern="1200" cap="none" spc="0" normalizeH="0" baseline="0" noProof="0" dirty="0">
              <a:ln>
                <a:noFill/>
              </a:ln>
              <a:solidFill>
                <a:srgbClr val="000000"/>
              </a:solidFill>
              <a:effectLst/>
              <a:uLnTx/>
              <a:uFillTx/>
              <a:latin typeface="Tahoma"/>
              <a:ea typeface="+mn-ea"/>
              <a:cs typeface="+mn-cs"/>
            </a:endParaRPr>
          </a:p>
        </p:txBody>
      </p:sp>
      <p:sp>
        <p:nvSpPr>
          <p:cNvPr id="10" name="TextBox 9">
            <a:extLst>
              <a:ext uri="{FF2B5EF4-FFF2-40B4-BE49-F238E27FC236}">
                <a16:creationId xmlns:a16="http://schemas.microsoft.com/office/drawing/2014/main" id="{6F7A924C-E079-BBFD-41B6-20F240FA706E}"/>
              </a:ext>
            </a:extLst>
          </p:cNvPr>
          <p:cNvSpPr txBox="1"/>
          <p:nvPr/>
        </p:nvSpPr>
        <p:spPr>
          <a:xfrm>
            <a:off x="744835" y="5236025"/>
            <a:ext cx="518160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mn-MN" dirty="0">
                <a:solidFill>
                  <a:srgbClr val="00A3AD">
                    <a:lumMod val="75000"/>
                  </a:srgbClr>
                </a:solidFill>
                <a:latin typeface="Tahoma"/>
              </a:rPr>
              <a:t>Бүтцийн судалгаатай адил хариу гарсан</a:t>
            </a:r>
            <a:endParaRPr kumimoji="0" lang="en-GB" sz="1800" b="0" i="0" u="none" strike="noStrike" kern="1200" cap="none" spc="0" normalizeH="0" baseline="0" noProof="0" dirty="0">
              <a:ln>
                <a:noFill/>
              </a:ln>
              <a:solidFill>
                <a:srgbClr val="00A3AD">
                  <a:lumMod val="75000"/>
                </a:srgbClr>
              </a:solidFill>
              <a:effectLst/>
              <a:uLnTx/>
              <a:uFillTx/>
              <a:latin typeface="Tahoma"/>
              <a:ea typeface="+mn-ea"/>
              <a:cs typeface="+mn-cs"/>
            </a:endParaRPr>
          </a:p>
        </p:txBody>
      </p:sp>
      <p:sp>
        <p:nvSpPr>
          <p:cNvPr id="13" name="TextBox 12">
            <a:extLst>
              <a:ext uri="{FF2B5EF4-FFF2-40B4-BE49-F238E27FC236}">
                <a16:creationId xmlns:a16="http://schemas.microsoft.com/office/drawing/2014/main" id="{9E2548F6-3798-6140-6384-080A50AAAF33}"/>
              </a:ext>
            </a:extLst>
          </p:cNvPr>
          <p:cNvSpPr txBox="1"/>
          <p:nvPr/>
        </p:nvSpPr>
        <p:spPr>
          <a:xfrm>
            <a:off x="7114211" y="656668"/>
            <a:ext cx="4146265"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mn-MN" sz="1800" b="0" i="0" u="none" strike="noStrike" kern="1200" cap="none" spc="0" normalizeH="0" baseline="0" noProof="0" dirty="0">
                <a:ln>
                  <a:noFill/>
                </a:ln>
                <a:solidFill>
                  <a:srgbClr val="000000"/>
                </a:solidFill>
                <a:effectLst/>
                <a:uLnTx/>
                <a:uFillTx/>
                <a:latin typeface="Tahoma"/>
                <a:ea typeface="+mn-ea"/>
                <a:cs typeface="+mn-cs"/>
              </a:rPr>
              <a:t>КОМПОСТ БОРДООНЫ ТАЛААРХ МЭДЛЭГ</a:t>
            </a:r>
            <a:endParaRPr kumimoji="0" lang="en-GB" sz="1800" b="0" i="0" u="none" strike="noStrike" kern="1200" cap="none" spc="0" normalizeH="0" baseline="0" noProof="0" dirty="0">
              <a:ln>
                <a:noFill/>
              </a:ln>
              <a:solidFill>
                <a:srgbClr val="000000"/>
              </a:solidFill>
              <a:effectLst/>
              <a:uLnTx/>
              <a:uFillTx/>
              <a:latin typeface="Tahoma"/>
              <a:ea typeface="+mn-ea"/>
              <a:cs typeface="+mn-cs"/>
            </a:endParaRPr>
          </a:p>
        </p:txBody>
      </p:sp>
      <p:sp>
        <p:nvSpPr>
          <p:cNvPr id="15" name="TextBox 14">
            <a:extLst>
              <a:ext uri="{FF2B5EF4-FFF2-40B4-BE49-F238E27FC236}">
                <a16:creationId xmlns:a16="http://schemas.microsoft.com/office/drawing/2014/main" id="{745FEC34-91F2-7A4E-B95E-9D8C36AD1D6F}"/>
              </a:ext>
            </a:extLst>
          </p:cNvPr>
          <p:cNvSpPr txBox="1"/>
          <p:nvPr/>
        </p:nvSpPr>
        <p:spPr>
          <a:xfrm>
            <a:off x="7017242" y="4947676"/>
            <a:ext cx="4860037" cy="1061509"/>
          </a:xfrm>
          <a:prstGeom prst="rect">
            <a:avLst/>
          </a:prstGeom>
          <a:noFill/>
        </p:spPr>
        <p:txBody>
          <a:bodyPr wrap="square">
            <a:spAutoFit/>
          </a:bodyPr>
          <a:lstStyle/>
          <a:p>
            <a:pPr marL="254000" marR="0" lvl="0" indent="0" algn="ctr" defTabSz="457200" rtl="0" eaLnBrk="1" fontAlgn="auto" latinLnBrk="0" hangingPunct="1">
              <a:lnSpc>
                <a:spcPct val="121000"/>
              </a:lnSpc>
              <a:spcBef>
                <a:spcPts val="695"/>
              </a:spcBef>
              <a:spcAft>
                <a:spcPts val="0"/>
              </a:spcAft>
              <a:buClrTx/>
              <a:buSzTx/>
              <a:buFontTx/>
              <a:buNone/>
              <a:tabLst/>
              <a:defRPr/>
            </a:pPr>
            <a:r>
              <a:rPr kumimoji="0" lang="mn-MN" sz="1800" b="0" i="0" u="none" strike="noStrike" kern="1200" cap="none" spc="0" normalizeH="0" baseline="0" noProof="0" dirty="0">
                <a:ln>
                  <a:noFill/>
                </a:ln>
                <a:solidFill>
                  <a:srgbClr val="00A3AD">
                    <a:lumMod val="75000"/>
                  </a:srgbClr>
                </a:solidFill>
                <a:effectLst/>
                <a:uLnTx/>
                <a:uFillTx/>
                <a:latin typeface="Tahoma"/>
                <a:ea typeface="+mn-ea"/>
                <a:cs typeface="+mn-cs"/>
              </a:rPr>
              <a:t>Хүнсний хаягдал нь компост бордоо боловсруулж болдог үнэ цэнэтэй түүхий эд гэдгийг ихэнхи хүмүүс мэдэж байна.</a:t>
            </a:r>
            <a:endParaRPr kumimoji="0" lang="en-GB" sz="1800" b="0" i="0" u="none" strike="noStrike" kern="1200" cap="none" spc="0" normalizeH="0" baseline="0" noProof="0" dirty="0">
              <a:ln>
                <a:noFill/>
              </a:ln>
              <a:solidFill>
                <a:srgbClr val="00A3AD">
                  <a:lumMod val="75000"/>
                </a:srgbClr>
              </a:solidFill>
              <a:effectLst/>
              <a:uLnTx/>
              <a:uFillTx/>
              <a:latin typeface="Tahoma"/>
              <a:ea typeface="+mn-ea"/>
              <a:cs typeface="+mn-cs"/>
            </a:endParaRPr>
          </a:p>
        </p:txBody>
      </p:sp>
      <p:pic>
        <p:nvPicPr>
          <p:cNvPr id="7" name="Picture 6">
            <a:extLst>
              <a:ext uri="{FF2B5EF4-FFF2-40B4-BE49-F238E27FC236}">
                <a16:creationId xmlns:a16="http://schemas.microsoft.com/office/drawing/2014/main" id="{4D135AA2-0B52-4E2C-8DB3-DFBAD49164B2}"/>
              </a:ext>
            </a:extLst>
          </p:cNvPr>
          <p:cNvPicPr>
            <a:picLocks noChangeAspect="1"/>
          </p:cNvPicPr>
          <p:nvPr/>
        </p:nvPicPr>
        <p:blipFill>
          <a:blip r:embed="rId2"/>
          <a:stretch>
            <a:fillRect/>
          </a:stretch>
        </p:blipFill>
        <p:spPr>
          <a:xfrm>
            <a:off x="7634046" y="1491109"/>
            <a:ext cx="3626430" cy="3268457"/>
          </a:xfrm>
          <a:prstGeom prst="rect">
            <a:avLst/>
          </a:prstGeom>
        </p:spPr>
      </p:pic>
      <p:pic>
        <p:nvPicPr>
          <p:cNvPr id="17" name="Picture 16">
            <a:extLst>
              <a:ext uri="{FF2B5EF4-FFF2-40B4-BE49-F238E27FC236}">
                <a16:creationId xmlns:a16="http://schemas.microsoft.com/office/drawing/2014/main" id="{01026888-F92E-41BA-9611-5F03805E125D}"/>
              </a:ext>
            </a:extLst>
          </p:cNvPr>
          <p:cNvPicPr>
            <a:picLocks noChangeAspect="1"/>
          </p:cNvPicPr>
          <p:nvPr/>
        </p:nvPicPr>
        <p:blipFill>
          <a:blip r:embed="rId3"/>
          <a:stretch>
            <a:fillRect/>
          </a:stretch>
        </p:blipFill>
        <p:spPr>
          <a:xfrm>
            <a:off x="962514" y="2253990"/>
            <a:ext cx="4829049" cy="2449619"/>
          </a:xfrm>
          <a:prstGeom prst="rect">
            <a:avLst/>
          </a:prstGeom>
        </p:spPr>
      </p:pic>
    </p:spTree>
    <p:extLst>
      <p:ext uri="{BB962C8B-B14F-4D97-AF65-F5344CB8AC3E}">
        <p14:creationId xmlns:p14="http://schemas.microsoft.com/office/powerpoint/2010/main" val="37778038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763F0-7328-052F-FE6D-15D456469831}"/>
              </a:ext>
            </a:extLst>
          </p:cNvPr>
          <p:cNvSpPr>
            <a:spLocks noGrp="1"/>
          </p:cNvSpPr>
          <p:nvPr>
            <p:ph type="title"/>
          </p:nvPr>
        </p:nvSpPr>
        <p:spPr>
          <a:xfrm>
            <a:off x="415612" y="372908"/>
            <a:ext cx="6786759" cy="662709"/>
          </a:xfrm>
        </p:spPr>
        <p:txBody>
          <a:bodyPr/>
          <a:lstStyle/>
          <a:p>
            <a:r>
              <a:rPr lang="mn-MN" dirty="0"/>
              <a:t>ГОЛ ХҮРГЭХ МЕССЕЖ</a:t>
            </a:r>
            <a:r>
              <a:rPr lang="en-GB" dirty="0"/>
              <a:t>?</a:t>
            </a:r>
          </a:p>
        </p:txBody>
      </p:sp>
      <p:sp>
        <p:nvSpPr>
          <p:cNvPr id="7" name="Content Placeholder 6">
            <a:extLst>
              <a:ext uri="{FF2B5EF4-FFF2-40B4-BE49-F238E27FC236}">
                <a16:creationId xmlns:a16="http://schemas.microsoft.com/office/drawing/2014/main" id="{525C8E05-CCD5-E7D9-18B5-0470FB1DBF1A}"/>
              </a:ext>
            </a:extLst>
          </p:cNvPr>
          <p:cNvSpPr txBox="1">
            <a:spLocks noGrp="1"/>
          </p:cNvSpPr>
          <p:nvPr>
            <p:ph sz="half" idx="1"/>
          </p:nvPr>
        </p:nvSpPr>
        <p:spPr>
          <a:xfrm>
            <a:off x="438965" y="1340497"/>
            <a:ext cx="5680388" cy="3957494"/>
          </a:xfrm>
          <a:prstGeom prst="rect">
            <a:avLst/>
          </a:prstGeom>
          <a:noFill/>
        </p:spPr>
        <p:txBody>
          <a:bodyPr wrap="square" rtlCol="0">
            <a:spAutoFit/>
          </a:bodyPr>
          <a:lstStyle/>
          <a:p>
            <a:pPr marL="285750" indent="-285750">
              <a:lnSpc>
                <a:spcPct val="100000"/>
              </a:lnSpc>
              <a:buFont typeface="Arial" panose="020B0604020202020204" pitchFamily="34" charset="0"/>
              <a:buChar char="•"/>
            </a:pPr>
            <a:r>
              <a:rPr lang="mn-MN" sz="2400" dirty="0">
                <a:solidFill>
                  <a:schemeClr val="accent4">
                    <a:lumMod val="75000"/>
                  </a:schemeClr>
                </a:solidFill>
              </a:rPr>
              <a:t>Хүнсний хаягдлыг цуглуулах, дахин боловсруулах талаар ойлголтыг нэмэгдүүлэх</a:t>
            </a:r>
            <a:endParaRPr lang="en-GB" sz="2400" dirty="0">
              <a:solidFill>
                <a:schemeClr val="accent4">
                  <a:lumMod val="75000"/>
                </a:schemeClr>
              </a:solidFill>
            </a:endParaRPr>
          </a:p>
          <a:p>
            <a:pPr marL="742950" lvl="1" indent="-285750">
              <a:lnSpc>
                <a:spcPct val="100000"/>
              </a:lnSpc>
            </a:pPr>
            <a:r>
              <a:rPr lang="mn-MN" sz="2000" dirty="0">
                <a:solidFill>
                  <a:schemeClr val="accent2"/>
                </a:solidFill>
              </a:rPr>
              <a:t>Сурталчлан таниулах</a:t>
            </a:r>
            <a:r>
              <a:rPr lang="en-GB" sz="2000" dirty="0">
                <a:solidFill>
                  <a:schemeClr val="accent2"/>
                </a:solidFill>
              </a:rPr>
              <a:t>!</a:t>
            </a:r>
          </a:p>
          <a:p>
            <a:pPr marL="285750" indent="-285750">
              <a:lnSpc>
                <a:spcPct val="100000"/>
              </a:lnSpc>
              <a:buFont typeface="Arial" panose="020B0604020202020204" pitchFamily="34" charset="0"/>
              <a:buChar char="•"/>
            </a:pPr>
            <a:r>
              <a:rPr lang="mn-MN" sz="2400" dirty="0">
                <a:solidFill>
                  <a:schemeClr val="accent4">
                    <a:lumMod val="75000"/>
                  </a:schemeClr>
                </a:solidFill>
              </a:rPr>
              <a:t>Дахин боловсруулах нь хялбар юм гэдгийг үзүүлж, таниулах</a:t>
            </a:r>
            <a:endParaRPr lang="en-GB" sz="2400" dirty="0">
              <a:solidFill>
                <a:schemeClr val="accent4">
                  <a:lumMod val="75000"/>
                </a:schemeClr>
              </a:solidFill>
            </a:endParaRPr>
          </a:p>
          <a:p>
            <a:pPr marL="742950" lvl="1" indent="-285750">
              <a:lnSpc>
                <a:spcPct val="100000"/>
              </a:lnSpc>
            </a:pPr>
            <a:r>
              <a:rPr lang="mn-MN" sz="2000" dirty="0">
                <a:solidFill>
                  <a:schemeClr val="accent2"/>
                </a:solidFill>
              </a:rPr>
              <a:t>Өдөөж, урамшуулж өгөх</a:t>
            </a:r>
            <a:r>
              <a:rPr lang="en-GB" sz="2000" dirty="0">
                <a:solidFill>
                  <a:schemeClr val="accent2"/>
                </a:solidFill>
              </a:rPr>
              <a:t>!</a:t>
            </a:r>
          </a:p>
          <a:p>
            <a:pPr marL="285750" indent="-285750">
              <a:lnSpc>
                <a:spcPct val="100000"/>
              </a:lnSpc>
              <a:buFont typeface="Arial" panose="020B0604020202020204" pitchFamily="34" charset="0"/>
              <a:buChar char="•"/>
            </a:pPr>
            <a:r>
              <a:rPr lang="mn-MN" sz="2400" dirty="0">
                <a:solidFill>
                  <a:schemeClr val="accent4">
                    <a:lumMod val="75000"/>
                  </a:schemeClr>
                </a:solidFill>
              </a:rPr>
              <a:t>Хайрцгаар дахин боловсруулалт хийх аргачлалыг нэвтрүүлэх</a:t>
            </a:r>
            <a:endParaRPr lang="en-GB" sz="2400" dirty="0">
              <a:solidFill>
                <a:schemeClr val="accent4">
                  <a:lumMod val="75000"/>
                </a:schemeClr>
              </a:solidFill>
            </a:endParaRPr>
          </a:p>
          <a:p>
            <a:pPr marL="742950" lvl="1" indent="-285750">
              <a:lnSpc>
                <a:spcPct val="100000"/>
              </a:lnSpc>
            </a:pPr>
            <a:r>
              <a:rPr lang="mn-MN" sz="2000" dirty="0">
                <a:solidFill>
                  <a:schemeClr val="accent2"/>
                </a:solidFill>
              </a:rPr>
              <a:t>Дэмжиж, туслах</a:t>
            </a:r>
            <a:r>
              <a:rPr lang="en-GB" sz="2000" dirty="0">
                <a:solidFill>
                  <a:schemeClr val="accent2"/>
                </a:solidFill>
              </a:rPr>
              <a:t>!</a:t>
            </a:r>
          </a:p>
        </p:txBody>
      </p:sp>
      <p:sp>
        <p:nvSpPr>
          <p:cNvPr id="5" name="Slide Number Placeholder 4">
            <a:extLst>
              <a:ext uri="{FF2B5EF4-FFF2-40B4-BE49-F238E27FC236}">
                <a16:creationId xmlns:a16="http://schemas.microsoft.com/office/drawing/2014/main" id="{4FA8EE0A-F1F7-5834-6556-98DAC51E2DDC}"/>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22BD14A0-459B-CA46-A763-3163F186A6C2}" type="slidenum">
              <a:rPr kumimoji="0" lang="en-US" sz="1000" b="0" i="0" u="none" strike="noStrike" kern="1200" cap="none" spc="0" normalizeH="0" baseline="0" noProof="0" smtClean="0">
                <a:ln>
                  <a:noFill/>
                </a:ln>
                <a:solidFill>
                  <a:srgbClr val="000000">
                    <a:lumMod val="50000"/>
                    <a:lumOff val="50000"/>
                  </a:srgbClr>
                </a:solidFill>
                <a:effectLst/>
                <a:uLnTx/>
                <a:uFillTx/>
                <a:latin typeface="Tahoma"/>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38</a:t>
            </a:fld>
            <a:endParaRPr kumimoji="0" lang="en-US" sz="1000" b="0" i="0" u="none" strike="noStrike" kern="1200" cap="none" spc="0" normalizeH="0" baseline="0" noProof="0">
              <a:ln>
                <a:noFill/>
              </a:ln>
              <a:solidFill>
                <a:srgbClr val="000000">
                  <a:lumMod val="50000"/>
                  <a:lumOff val="50000"/>
                </a:srgbClr>
              </a:solidFill>
              <a:effectLst/>
              <a:uLnTx/>
              <a:uFillTx/>
              <a:latin typeface="Tahoma"/>
              <a:ea typeface="+mn-ea"/>
              <a:cs typeface="+mn-cs"/>
            </a:endParaRPr>
          </a:p>
        </p:txBody>
      </p:sp>
      <p:pic>
        <p:nvPicPr>
          <p:cNvPr id="6" name="Content Placeholder 5">
            <a:extLst>
              <a:ext uri="{FF2B5EF4-FFF2-40B4-BE49-F238E27FC236}">
                <a16:creationId xmlns:a16="http://schemas.microsoft.com/office/drawing/2014/main" id="{B0FA47FC-A6CB-EA11-EAC1-C3F9A090EF37}"/>
              </a:ext>
            </a:extLst>
          </p:cNvPr>
          <p:cNvPicPr>
            <a:picLocks noGrp="1" noChangeAspect="1"/>
          </p:cNvPicPr>
          <p:nvPr>
            <p:ph sz="half" idx="2"/>
          </p:nvPr>
        </p:nvPicPr>
        <p:blipFill>
          <a:blip r:embed="rId2" cstate="print">
            <a:extLst>
              <a:ext uri="{28A0092B-C50C-407E-A947-70E740481C1C}">
                <a14:useLocalDpi xmlns:a14="http://schemas.microsoft.com/office/drawing/2010/main" val="0"/>
              </a:ext>
            </a:extLst>
          </a:blip>
          <a:srcRect/>
          <a:stretch>
            <a:fillRect/>
          </a:stretch>
        </p:blipFill>
        <p:spPr bwMode="auto">
          <a:xfrm>
            <a:off x="6594790" y="2215977"/>
            <a:ext cx="5117131" cy="3619314"/>
          </a:xfrm>
          <a:prstGeom prst="rect">
            <a:avLst/>
          </a:prstGeom>
          <a:noFill/>
          <a:ln w="9525">
            <a:solidFill>
              <a:schemeClr val="tx1"/>
            </a:solidFill>
          </a:ln>
        </p:spPr>
      </p:pic>
      <p:pic>
        <p:nvPicPr>
          <p:cNvPr id="8" name="Picture 7">
            <a:extLst>
              <a:ext uri="{FF2B5EF4-FFF2-40B4-BE49-F238E27FC236}">
                <a16:creationId xmlns:a16="http://schemas.microsoft.com/office/drawing/2014/main" id="{2891083F-F11C-931A-10F9-BE56D88D114A}"/>
              </a:ext>
            </a:extLst>
          </p:cNvPr>
          <p:cNvPicPr>
            <a:picLocks noChangeAspect="1"/>
          </p:cNvPicPr>
          <p:nvPr/>
        </p:nvPicPr>
        <p:blipFill>
          <a:blip r:embed="rId3"/>
          <a:stretch>
            <a:fillRect/>
          </a:stretch>
        </p:blipFill>
        <p:spPr>
          <a:xfrm>
            <a:off x="6594050" y="396946"/>
            <a:ext cx="5117871" cy="1481549"/>
          </a:xfrm>
          <a:prstGeom prst="rect">
            <a:avLst/>
          </a:prstGeom>
          <a:ln w="9525">
            <a:solidFill>
              <a:schemeClr val="tx1"/>
            </a:solidFill>
          </a:ln>
        </p:spPr>
      </p:pic>
    </p:spTree>
    <p:extLst>
      <p:ext uri="{BB962C8B-B14F-4D97-AF65-F5344CB8AC3E}">
        <p14:creationId xmlns:p14="http://schemas.microsoft.com/office/powerpoint/2010/main" val="37511921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763F0-7328-052F-FE6D-15D456469831}"/>
              </a:ext>
            </a:extLst>
          </p:cNvPr>
          <p:cNvSpPr>
            <a:spLocks noGrp="1"/>
          </p:cNvSpPr>
          <p:nvPr>
            <p:ph type="title"/>
          </p:nvPr>
        </p:nvSpPr>
        <p:spPr/>
        <p:txBody>
          <a:bodyPr/>
          <a:lstStyle/>
          <a:p>
            <a:r>
              <a:rPr lang="mn-MN" dirty="0"/>
              <a:t>ГОЛ ХҮРГЭХ МЕССЕЖ</a:t>
            </a:r>
            <a:r>
              <a:rPr lang="en-GB" dirty="0"/>
              <a:t>?</a:t>
            </a:r>
          </a:p>
        </p:txBody>
      </p:sp>
      <p:sp>
        <p:nvSpPr>
          <p:cNvPr id="21" name="Content Placeholder 20">
            <a:extLst>
              <a:ext uri="{FF2B5EF4-FFF2-40B4-BE49-F238E27FC236}">
                <a16:creationId xmlns:a16="http://schemas.microsoft.com/office/drawing/2014/main" id="{E5685709-8B9B-6EB6-CF45-C1108663BB48}"/>
              </a:ext>
            </a:extLst>
          </p:cNvPr>
          <p:cNvSpPr>
            <a:spLocks noGrp="1"/>
          </p:cNvSpPr>
          <p:nvPr>
            <p:ph sz="half" idx="2"/>
          </p:nvPr>
        </p:nvSpPr>
        <p:spPr>
          <a:xfrm>
            <a:off x="4944979" y="1604977"/>
            <a:ext cx="6620822" cy="3628760"/>
          </a:xfrm>
        </p:spPr>
        <p:txBody>
          <a:bodyPr>
            <a:normAutofit/>
          </a:bodyPr>
          <a:lstStyle/>
          <a:p>
            <a:r>
              <a:rPr lang="mn-MN" sz="2400" dirty="0">
                <a:solidFill>
                  <a:schemeClr val="accent4">
                    <a:lumMod val="75000"/>
                  </a:schemeClr>
                </a:solidFill>
              </a:rPr>
              <a:t>Энгийн байдлаар бэлтгэл ажлыг эхлүүлэх</a:t>
            </a:r>
            <a:endParaRPr lang="en-GB" sz="2400" dirty="0">
              <a:solidFill>
                <a:schemeClr val="accent4">
                  <a:lumMod val="75000"/>
                </a:schemeClr>
              </a:solidFill>
            </a:endParaRPr>
          </a:p>
          <a:p>
            <a:pPr lvl="1"/>
            <a:r>
              <a:rPr lang="mn-MN" sz="2000" dirty="0">
                <a:solidFill>
                  <a:schemeClr val="accent2"/>
                </a:solidFill>
              </a:rPr>
              <a:t>Үүнд харилцаа холбоо</a:t>
            </a:r>
            <a:r>
              <a:rPr lang="mn-MN" sz="2000">
                <a:solidFill>
                  <a:schemeClr val="accent2"/>
                </a:solidFill>
              </a:rPr>
              <a:t>, иргэдэд ойлгуулах </a:t>
            </a:r>
            <a:r>
              <a:rPr lang="mn-MN" sz="2000" dirty="0">
                <a:solidFill>
                  <a:schemeClr val="accent2"/>
                </a:solidFill>
              </a:rPr>
              <a:t>чухал</a:t>
            </a:r>
            <a:r>
              <a:rPr lang="en-GB" sz="2000" dirty="0">
                <a:solidFill>
                  <a:schemeClr val="accent2"/>
                </a:solidFill>
              </a:rPr>
              <a:t>!</a:t>
            </a:r>
          </a:p>
          <a:p>
            <a:pPr lvl="1"/>
            <a:r>
              <a:rPr lang="mn-MN" sz="2000" dirty="0">
                <a:solidFill>
                  <a:schemeClr val="accent2"/>
                </a:solidFill>
              </a:rPr>
              <a:t>Эхний шатанд зарим амжилтад хүрэх боломж бий</a:t>
            </a:r>
            <a:endParaRPr lang="en-GB" sz="2000" dirty="0">
              <a:solidFill>
                <a:schemeClr val="accent2"/>
              </a:solidFill>
            </a:endParaRPr>
          </a:p>
          <a:p>
            <a:r>
              <a:rPr lang="mn-MN" sz="2400" dirty="0">
                <a:solidFill>
                  <a:schemeClr val="accent4">
                    <a:lumMod val="75000"/>
                  </a:schemeClr>
                </a:solidFill>
              </a:rPr>
              <a:t>Дахин ашиглах хаягдалд хэрэглэх хогны сав, уутыг бэлдэх</a:t>
            </a:r>
            <a:endParaRPr lang="en-GB" sz="2400" dirty="0">
              <a:solidFill>
                <a:schemeClr val="accent4">
                  <a:lumMod val="75000"/>
                </a:schemeClr>
              </a:solidFill>
            </a:endParaRPr>
          </a:p>
          <a:p>
            <a:pPr lvl="1"/>
            <a:r>
              <a:rPr lang="mn-MN" sz="2000" dirty="0">
                <a:solidFill>
                  <a:schemeClr val="accent2"/>
                </a:solidFill>
              </a:rPr>
              <a:t>Хогны ангилал</a:t>
            </a:r>
            <a:r>
              <a:rPr lang="en-GB" sz="2000" dirty="0">
                <a:solidFill>
                  <a:schemeClr val="accent2"/>
                </a:solidFill>
              </a:rPr>
              <a:t>!</a:t>
            </a:r>
          </a:p>
          <a:p>
            <a:r>
              <a:rPr lang="mn-MN" sz="2400" dirty="0">
                <a:solidFill>
                  <a:schemeClr val="accent4">
                    <a:lumMod val="75000"/>
                  </a:schemeClr>
                </a:solidFill>
              </a:rPr>
              <a:t>Хог цуглуулах ажлыг хяналттай, чанартай хэрэгжүүлэх</a:t>
            </a:r>
            <a:endParaRPr lang="en-GB" sz="2400" dirty="0">
              <a:solidFill>
                <a:schemeClr val="accent4">
                  <a:lumMod val="75000"/>
                </a:schemeClr>
              </a:solidFill>
            </a:endParaRPr>
          </a:p>
          <a:p>
            <a:pPr lvl="1"/>
            <a:r>
              <a:rPr lang="mn-MN" sz="2000" dirty="0">
                <a:solidFill>
                  <a:schemeClr val="accent2"/>
                </a:solidFill>
              </a:rPr>
              <a:t>Бодит байдал дээр хэрэгжиж болохыг харуулах</a:t>
            </a:r>
            <a:r>
              <a:rPr lang="en-GB" sz="2000" dirty="0">
                <a:solidFill>
                  <a:schemeClr val="accent2"/>
                </a:solidFill>
              </a:rPr>
              <a:t>!</a:t>
            </a:r>
          </a:p>
          <a:p>
            <a:pPr lvl="1"/>
            <a:endParaRPr lang="en-GB" sz="2000" dirty="0">
              <a:solidFill>
                <a:schemeClr val="accent4">
                  <a:lumMod val="75000"/>
                </a:schemeClr>
              </a:solidFill>
            </a:endParaRPr>
          </a:p>
        </p:txBody>
      </p:sp>
      <p:sp>
        <p:nvSpPr>
          <p:cNvPr id="5" name="Slide Number Placeholder 4">
            <a:extLst>
              <a:ext uri="{FF2B5EF4-FFF2-40B4-BE49-F238E27FC236}">
                <a16:creationId xmlns:a16="http://schemas.microsoft.com/office/drawing/2014/main" id="{4FA8EE0A-F1F7-5834-6556-98DAC51E2DDC}"/>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22BD14A0-459B-CA46-A763-3163F186A6C2}" type="slidenum">
              <a:rPr kumimoji="0" lang="en-US" sz="1000" b="0" i="0" u="none" strike="noStrike" kern="1200" cap="none" spc="0" normalizeH="0" baseline="0" noProof="0" smtClean="0">
                <a:ln>
                  <a:noFill/>
                </a:ln>
                <a:solidFill>
                  <a:srgbClr val="000000">
                    <a:lumMod val="50000"/>
                    <a:lumOff val="50000"/>
                  </a:srgbClr>
                </a:solidFill>
                <a:effectLst/>
                <a:uLnTx/>
                <a:uFillTx/>
                <a:latin typeface="Tahoma"/>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39</a:t>
            </a:fld>
            <a:endParaRPr kumimoji="0" lang="en-US" sz="1000" b="0" i="0" u="none" strike="noStrike" kern="1200" cap="none" spc="0" normalizeH="0" baseline="0" noProof="0">
              <a:ln>
                <a:noFill/>
              </a:ln>
              <a:solidFill>
                <a:srgbClr val="000000">
                  <a:lumMod val="50000"/>
                  <a:lumOff val="50000"/>
                </a:srgbClr>
              </a:solidFill>
              <a:effectLst/>
              <a:uLnTx/>
              <a:uFillTx/>
              <a:latin typeface="Tahoma"/>
              <a:ea typeface="+mn-ea"/>
              <a:cs typeface="+mn-cs"/>
            </a:endParaRPr>
          </a:p>
        </p:txBody>
      </p:sp>
      <p:pic>
        <p:nvPicPr>
          <p:cNvPr id="6" name="Picture 2">
            <a:extLst>
              <a:ext uri="{FF2B5EF4-FFF2-40B4-BE49-F238E27FC236}">
                <a16:creationId xmlns:a16="http://schemas.microsoft.com/office/drawing/2014/main" id="{2FF34AB1-A7E1-CFEE-5AC0-EE3CADEB4845}"/>
              </a:ext>
            </a:extLst>
          </p:cNvPr>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1256748" y="1371435"/>
            <a:ext cx="3543852" cy="4115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24418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EDC51-C09F-4AD1-9CA9-60FA9CB5A2C9}"/>
              </a:ext>
            </a:extLst>
          </p:cNvPr>
          <p:cNvSpPr>
            <a:spLocks noGrp="1"/>
          </p:cNvSpPr>
          <p:nvPr>
            <p:ph type="title"/>
          </p:nvPr>
        </p:nvSpPr>
        <p:spPr>
          <a:xfrm>
            <a:off x="360000" y="558505"/>
            <a:ext cx="10800000" cy="718992"/>
          </a:xfrm>
        </p:spPr>
        <p:txBody>
          <a:bodyPr/>
          <a:lstStyle/>
          <a:p>
            <a:r>
              <a:rPr lang="mn-MN" dirty="0"/>
              <a:t>ТӨСЛИЙН ТУХАЙ</a:t>
            </a:r>
            <a:endParaRPr lang="en-GB" dirty="0"/>
          </a:p>
        </p:txBody>
      </p:sp>
      <p:sp>
        <p:nvSpPr>
          <p:cNvPr id="3" name="Content Placeholder 2">
            <a:extLst>
              <a:ext uri="{FF2B5EF4-FFF2-40B4-BE49-F238E27FC236}">
                <a16:creationId xmlns:a16="http://schemas.microsoft.com/office/drawing/2014/main" id="{CDDD5CC4-74A2-4D47-9A42-D11F5020C533}"/>
              </a:ext>
            </a:extLst>
          </p:cNvPr>
          <p:cNvSpPr>
            <a:spLocks noGrp="1"/>
          </p:cNvSpPr>
          <p:nvPr>
            <p:ph idx="1"/>
          </p:nvPr>
        </p:nvSpPr>
        <p:spPr>
          <a:xfrm>
            <a:off x="359999" y="1830194"/>
            <a:ext cx="11205801" cy="4109805"/>
          </a:xfrm>
        </p:spPr>
        <p:txBody>
          <a:bodyPr>
            <a:normAutofit fontScale="92500" lnSpcReduction="10000"/>
          </a:bodyPr>
          <a:lstStyle/>
          <a:p>
            <a:endParaRPr lang="en-GB" dirty="0"/>
          </a:p>
          <a:p>
            <a:pPr>
              <a:spcBef>
                <a:spcPts val="200"/>
              </a:spcBef>
              <a:spcAft>
                <a:spcPts val="200"/>
              </a:spcAft>
            </a:pPr>
            <a:r>
              <a:rPr lang="mn-MN" dirty="0"/>
              <a:t>Улаанбаатар хотын хүнсний хаягдлыг дахин боловсруулах төсөл</a:t>
            </a:r>
            <a:endParaRPr lang="en-GB" dirty="0"/>
          </a:p>
          <a:p>
            <a:pPr lvl="1">
              <a:spcBef>
                <a:spcPts val="200"/>
              </a:spcBef>
              <a:spcAft>
                <a:spcPts val="200"/>
              </a:spcAft>
              <a:tabLst>
                <a:tab pos="4391025" algn="l"/>
              </a:tabLst>
            </a:pPr>
            <a:r>
              <a:rPr lang="mn-MN" dirty="0"/>
              <a:t>Санхүүжүүлэг байгууллага: 		Ази, Номхон далайн бүсийн тогтвортой хөгжлийн</a:t>
            </a:r>
          </a:p>
          <a:p>
            <a:pPr marL="457200" lvl="1" indent="0">
              <a:spcBef>
                <a:spcPts val="200"/>
              </a:spcBef>
              <a:spcAft>
                <a:spcPts val="200"/>
              </a:spcAft>
              <a:buNone/>
            </a:pPr>
            <a:r>
              <a:rPr lang="mn-MN" dirty="0"/>
              <a:t>					Япон сан/ Азийн Хөгжлийн Банк</a:t>
            </a:r>
          </a:p>
          <a:p>
            <a:pPr lvl="1">
              <a:spcBef>
                <a:spcPts val="200"/>
              </a:spcBef>
              <a:spcAft>
                <a:spcPts val="200"/>
              </a:spcAft>
            </a:pPr>
            <a:r>
              <a:rPr lang="mn-MN" dirty="0"/>
              <a:t>Хэрэгжүүлэгч байгууллага: </a:t>
            </a:r>
            <a:r>
              <a:rPr lang="mn-MN" sz="2200" dirty="0"/>
              <a:t>	</a:t>
            </a:r>
            <a:r>
              <a:rPr lang="mn-MN" dirty="0"/>
              <a:t>Улаанбаатар хотын Захирагчийн ажлын алба </a:t>
            </a:r>
          </a:p>
          <a:p>
            <a:pPr lvl="1">
              <a:spcBef>
                <a:spcPts val="200"/>
              </a:spcBef>
              <a:spcAft>
                <a:spcPts val="200"/>
              </a:spcAft>
            </a:pPr>
            <a:endParaRPr lang="en-GB" dirty="0"/>
          </a:p>
          <a:p>
            <a:pPr>
              <a:spcBef>
                <a:spcPts val="200"/>
              </a:spcBef>
              <a:spcAft>
                <a:spcPts val="200"/>
              </a:spcAft>
            </a:pPr>
            <a:r>
              <a:rPr lang="mn-MN" dirty="0"/>
              <a:t>Зорилго</a:t>
            </a:r>
            <a:endParaRPr lang="en-GB" dirty="0"/>
          </a:p>
          <a:p>
            <a:pPr lvl="1">
              <a:spcBef>
                <a:spcPts val="200"/>
              </a:spcBef>
              <a:spcAft>
                <a:spcPts val="200"/>
              </a:spcAft>
            </a:pPr>
            <a:r>
              <a:rPr lang="mn-MN" dirty="0"/>
              <a:t>Хүнсний хог хаягдлын талаар мэдлэг, ухамсрыг нэмэгдүүлэх </a:t>
            </a:r>
          </a:p>
          <a:p>
            <a:pPr lvl="1">
              <a:spcBef>
                <a:spcPts val="200"/>
              </a:spcBef>
              <a:spcAft>
                <a:spcPts val="200"/>
              </a:spcAft>
            </a:pPr>
            <a:r>
              <a:rPr lang="mn-MN" dirty="0"/>
              <a:t>Хүнсний хаягдлаар компост бордоо хийх ажлыг сурталчлах </a:t>
            </a:r>
          </a:p>
          <a:p>
            <a:pPr lvl="1">
              <a:spcBef>
                <a:spcPts val="200"/>
              </a:spcBef>
              <a:spcAft>
                <a:spcPts val="200"/>
              </a:spcAft>
            </a:pPr>
            <a:r>
              <a:rPr lang="mn-MN" dirty="0"/>
              <a:t>Улаанбаатар хотын хүрээлэн буй орчныг сайжруулах </a:t>
            </a:r>
          </a:p>
          <a:p>
            <a:pPr lvl="1">
              <a:spcBef>
                <a:spcPts val="200"/>
              </a:spcBef>
              <a:spcAft>
                <a:spcPts val="200"/>
              </a:spcAft>
            </a:pPr>
            <a:r>
              <a:rPr lang="mn-MN" dirty="0"/>
              <a:t>Хүлэмжийн хийн ялгаралтыг бууруулах</a:t>
            </a:r>
          </a:p>
          <a:p>
            <a:pPr lvl="1">
              <a:spcBef>
                <a:spcPts val="200"/>
              </a:spcBef>
              <a:spcAft>
                <a:spcPts val="200"/>
              </a:spcAft>
            </a:pPr>
            <a:r>
              <a:rPr lang="mn-MN" dirty="0"/>
              <a:t>Шинээр бизнес эрхлэх, ажлын байр бий болгох боломжийг нэмэгдүүлэх </a:t>
            </a:r>
            <a:endParaRPr lang="en-GB" dirty="0"/>
          </a:p>
          <a:p>
            <a:endParaRPr lang="en-GB" dirty="0"/>
          </a:p>
        </p:txBody>
      </p:sp>
      <p:sp>
        <p:nvSpPr>
          <p:cNvPr id="4" name="Slide Number Placeholder 3">
            <a:extLst>
              <a:ext uri="{FF2B5EF4-FFF2-40B4-BE49-F238E27FC236}">
                <a16:creationId xmlns:a16="http://schemas.microsoft.com/office/drawing/2014/main" id="{5C6B9CD9-86E3-4225-9AAD-24EF0ADC7F36}"/>
              </a:ext>
            </a:extLst>
          </p:cNvPr>
          <p:cNvSpPr>
            <a:spLocks noGrp="1"/>
          </p:cNvSpPr>
          <p:nvPr>
            <p:ph type="sldNum" sz="quarter" idx="12"/>
          </p:nvPr>
        </p:nvSpPr>
        <p:spPr/>
        <p:txBody>
          <a:bodyPr/>
          <a:lstStyle/>
          <a:p>
            <a:fld id="{22BD14A0-459B-CA46-A763-3163F186A6C2}" type="slidenum">
              <a:rPr lang="en-US" smtClean="0"/>
              <a:t>4</a:t>
            </a:fld>
            <a:endParaRPr lang="en-US"/>
          </a:p>
        </p:txBody>
      </p:sp>
      <p:pic>
        <p:nvPicPr>
          <p:cNvPr id="7" name="Picture 6">
            <a:extLst>
              <a:ext uri="{FF2B5EF4-FFF2-40B4-BE49-F238E27FC236}">
                <a16:creationId xmlns:a16="http://schemas.microsoft.com/office/drawing/2014/main" id="{1D3C7279-BE56-5C5E-7F19-7F6B8CC3BDD0}"/>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93612" y="768017"/>
            <a:ext cx="6066388" cy="1211258"/>
          </a:xfrm>
          <a:prstGeom prst="rect">
            <a:avLst/>
          </a:prstGeom>
          <a:noFill/>
          <a:ln>
            <a:noFill/>
          </a:ln>
        </p:spPr>
      </p:pic>
    </p:spTree>
    <p:extLst>
      <p:ext uri="{BB962C8B-B14F-4D97-AF65-F5344CB8AC3E}">
        <p14:creationId xmlns:p14="http://schemas.microsoft.com/office/powerpoint/2010/main" val="13962916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801CC-E369-4545-9557-94A435E4674A}"/>
              </a:ext>
            </a:extLst>
          </p:cNvPr>
          <p:cNvSpPr>
            <a:spLocks noGrp="1"/>
          </p:cNvSpPr>
          <p:nvPr>
            <p:ph type="title"/>
          </p:nvPr>
        </p:nvSpPr>
        <p:spPr/>
        <p:txBody>
          <a:bodyPr/>
          <a:lstStyle/>
          <a:p>
            <a:r>
              <a:rPr lang="mn-MN" dirty="0"/>
              <a:t>ЦАЙНЫ ЗАВСАРЛАГАА</a:t>
            </a:r>
            <a:endParaRPr lang="en-GB" dirty="0"/>
          </a:p>
        </p:txBody>
      </p:sp>
      <p:sp>
        <p:nvSpPr>
          <p:cNvPr id="5" name="Slide Number Placeholder 4"/>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C1B07ACB-AE6F-47F7-B02A-AE02D6CD5526}" type="slidenum">
              <a:rPr kumimoji="0" lang="en-GB" sz="1000" b="0" i="0" u="none" strike="noStrike" kern="1200" cap="none" spc="0" normalizeH="0" baseline="0" noProof="0" smtClean="0">
                <a:ln>
                  <a:noFill/>
                </a:ln>
                <a:solidFill>
                  <a:srgbClr val="000000">
                    <a:lumMod val="50000"/>
                    <a:lumOff val="50000"/>
                  </a:srgbClr>
                </a:solidFill>
                <a:effectLst/>
                <a:uLnTx/>
                <a:uFillTx/>
                <a:latin typeface="Tahoma"/>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40</a:t>
            </a:fld>
            <a:endParaRPr kumimoji="0" lang="en-GB" sz="1000" b="0" i="0" u="none" strike="noStrike" kern="1200" cap="none" spc="0" normalizeH="0" baseline="0" noProof="0" dirty="0">
              <a:ln>
                <a:noFill/>
              </a:ln>
              <a:solidFill>
                <a:srgbClr val="000000">
                  <a:lumMod val="50000"/>
                  <a:lumOff val="50000"/>
                </a:srgbClr>
              </a:solidFill>
              <a:effectLst/>
              <a:uLnTx/>
              <a:uFillTx/>
              <a:latin typeface="Tahoma"/>
              <a:ea typeface="+mn-ea"/>
              <a:cs typeface="+mn-cs"/>
            </a:endParaRPr>
          </a:p>
        </p:txBody>
      </p:sp>
      <p:pic>
        <p:nvPicPr>
          <p:cNvPr id="6" name="Picture 5">
            <a:extLst>
              <a:ext uri="{FF2B5EF4-FFF2-40B4-BE49-F238E27FC236}">
                <a16:creationId xmlns:a16="http://schemas.microsoft.com/office/drawing/2014/main" id="{99F975A3-9771-4A97-BB92-C5BFBA88A420}"/>
              </a:ext>
            </a:extLst>
          </p:cNvPr>
          <p:cNvPicPr/>
          <p:nvPr/>
        </p:nvPicPr>
        <p:blipFill>
          <a:blip r:embed="rId2" cstate="screen">
            <a:extLst>
              <a:ext uri="{28A0092B-C50C-407E-A947-70E740481C1C}">
                <a14:useLocalDpi xmlns:a14="http://schemas.microsoft.com/office/drawing/2010/main"/>
              </a:ext>
            </a:extLst>
          </a:blip>
          <a:srcRect/>
          <a:stretch>
            <a:fillRect/>
          </a:stretch>
        </p:blipFill>
        <p:spPr bwMode="auto">
          <a:xfrm>
            <a:off x="1261056" y="6197284"/>
            <a:ext cx="1547628" cy="472236"/>
          </a:xfrm>
          <a:prstGeom prst="rect">
            <a:avLst/>
          </a:prstGeom>
          <a:noFill/>
        </p:spPr>
      </p:pic>
      <p:pic>
        <p:nvPicPr>
          <p:cNvPr id="9" name="Graphic 8" descr="Tea with solid fill">
            <a:extLst>
              <a:ext uri="{FF2B5EF4-FFF2-40B4-BE49-F238E27FC236}">
                <a16:creationId xmlns:a16="http://schemas.microsoft.com/office/drawing/2014/main" id="{B604988C-6528-23A8-9D76-DB111175FB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94588" y="1692000"/>
            <a:ext cx="3030071" cy="3030071"/>
          </a:xfrm>
          <a:prstGeom prst="rect">
            <a:avLst/>
          </a:prstGeom>
        </p:spPr>
      </p:pic>
      <p:pic>
        <p:nvPicPr>
          <p:cNvPr id="11" name="Graphic 10" descr="Coffee with solid fill">
            <a:extLst>
              <a:ext uri="{FF2B5EF4-FFF2-40B4-BE49-F238E27FC236}">
                <a16:creationId xmlns:a16="http://schemas.microsoft.com/office/drawing/2014/main" id="{6B4DF956-FD6B-665E-73A2-12FFEB573BD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27294" y="1692000"/>
            <a:ext cx="3030071" cy="3030071"/>
          </a:xfrm>
          <a:prstGeom prst="rect">
            <a:avLst/>
          </a:prstGeom>
        </p:spPr>
      </p:pic>
    </p:spTree>
    <p:extLst>
      <p:ext uri="{BB962C8B-B14F-4D97-AF65-F5344CB8AC3E}">
        <p14:creationId xmlns:p14="http://schemas.microsoft.com/office/powerpoint/2010/main" val="6811004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E71F867-C5CB-8D38-25EB-D4D030EFCE6C}"/>
              </a:ext>
            </a:extLst>
          </p:cNvPr>
          <p:cNvSpPr>
            <a:spLocks noGrp="1"/>
          </p:cNvSpPr>
          <p:nvPr>
            <p:ph type="title"/>
          </p:nvPr>
        </p:nvSpPr>
        <p:spPr/>
        <p:txBody>
          <a:bodyPr/>
          <a:lstStyle/>
          <a:p>
            <a:r>
              <a:rPr lang="mn-MN" dirty="0"/>
              <a:t>ДҮГНЭЛТ</a:t>
            </a:r>
            <a:endParaRPr lang="en-GB" dirty="0"/>
          </a:p>
        </p:txBody>
      </p:sp>
      <p:sp>
        <p:nvSpPr>
          <p:cNvPr id="6" name="Content Placeholder 5">
            <a:extLst>
              <a:ext uri="{FF2B5EF4-FFF2-40B4-BE49-F238E27FC236}">
                <a16:creationId xmlns:a16="http://schemas.microsoft.com/office/drawing/2014/main" id="{4FEAD33E-54F9-6CC0-15C2-63199CBB3640}"/>
              </a:ext>
            </a:extLst>
          </p:cNvPr>
          <p:cNvSpPr>
            <a:spLocks noGrp="1"/>
          </p:cNvSpPr>
          <p:nvPr>
            <p:ph idx="1"/>
          </p:nvPr>
        </p:nvSpPr>
        <p:spPr>
          <a:xfrm>
            <a:off x="433741" y="1248057"/>
            <a:ext cx="5757444" cy="4401486"/>
          </a:xfrm>
        </p:spPr>
        <p:txBody>
          <a:bodyPr>
            <a:normAutofit fontScale="92500" lnSpcReduction="10000"/>
          </a:bodyPr>
          <a:lstStyle/>
          <a:p>
            <a:pPr marL="0" indent="0">
              <a:buNone/>
            </a:pPr>
            <a:r>
              <a:rPr lang="mn-MN" dirty="0"/>
              <a:t>Семниар эхлэхэд тавьсан энгийн асуултууд:</a:t>
            </a:r>
            <a:endParaRPr lang="en-GB" dirty="0"/>
          </a:p>
          <a:p>
            <a:pPr marL="0" indent="0">
              <a:buNone/>
            </a:pPr>
            <a:endParaRPr lang="en-GB" dirty="0"/>
          </a:p>
          <a:p>
            <a:r>
              <a:rPr lang="mn-MN" sz="2400" dirty="0"/>
              <a:t>Хэр хэмжээний хүнсний хаягдал хаягдалж байна вэ</a:t>
            </a:r>
            <a:r>
              <a:rPr lang="en-GB" sz="2400" dirty="0"/>
              <a:t>?</a:t>
            </a:r>
          </a:p>
          <a:p>
            <a:r>
              <a:rPr lang="mn-MN" sz="2400" dirty="0"/>
              <a:t>Хүнсний хаягдлын бүтэц</a:t>
            </a:r>
            <a:r>
              <a:rPr lang="en-GB" sz="2400" dirty="0"/>
              <a:t>?</a:t>
            </a:r>
          </a:p>
          <a:p>
            <a:r>
              <a:rPr lang="mn-MN" sz="2400" dirty="0"/>
              <a:t>Хаягдал эх үүсвэр юу вэ</a:t>
            </a:r>
            <a:r>
              <a:rPr lang="en-GB" sz="2400" dirty="0"/>
              <a:t>?</a:t>
            </a:r>
          </a:p>
          <a:p>
            <a:r>
              <a:rPr lang="mn-MN" sz="2400" dirty="0"/>
              <a:t>Хаягдлыг хэн гаргаж байна</a:t>
            </a:r>
            <a:r>
              <a:rPr lang="en-GB" sz="2400" dirty="0"/>
              <a:t>?</a:t>
            </a:r>
          </a:p>
          <a:p>
            <a:r>
              <a:rPr lang="mn-MN" sz="2400" dirty="0"/>
              <a:t>Хаягдлыг хэрхэн цуглуулж болох вэ</a:t>
            </a:r>
            <a:r>
              <a:rPr lang="en-GB" sz="2400" dirty="0"/>
              <a:t>?</a:t>
            </a:r>
          </a:p>
          <a:p>
            <a:r>
              <a:rPr lang="mn-MN" sz="2400" dirty="0"/>
              <a:t>Хаягдлыг хэрхэн дахин ашиглаж болох вэ</a:t>
            </a:r>
            <a:r>
              <a:rPr lang="en-GB" sz="2400" dirty="0"/>
              <a:t>?</a:t>
            </a:r>
          </a:p>
          <a:p>
            <a:r>
              <a:rPr lang="mn-MN" sz="2400" dirty="0"/>
              <a:t>Хаягдлын талаар иргэдийн хандлага</a:t>
            </a:r>
            <a:r>
              <a:rPr lang="en-GB" sz="2400" dirty="0"/>
              <a:t>?</a:t>
            </a:r>
          </a:p>
          <a:p>
            <a:endParaRPr lang="en-GB" dirty="0"/>
          </a:p>
        </p:txBody>
      </p:sp>
      <p:sp>
        <p:nvSpPr>
          <p:cNvPr id="4" name="Slide Number Placeholder 3">
            <a:extLst>
              <a:ext uri="{FF2B5EF4-FFF2-40B4-BE49-F238E27FC236}">
                <a16:creationId xmlns:a16="http://schemas.microsoft.com/office/drawing/2014/main" id="{83604C6A-8FD6-7D27-9FCB-4DE98BEE0566}"/>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22BD14A0-459B-CA46-A763-3163F186A6C2}" type="slidenum">
              <a:rPr kumimoji="0" lang="en-US" sz="1000" b="0" i="0" u="none" strike="noStrike" kern="1200" cap="none" spc="0" normalizeH="0" baseline="0" noProof="0" smtClean="0">
                <a:ln>
                  <a:noFill/>
                </a:ln>
                <a:solidFill>
                  <a:srgbClr val="000000">
                    <a:lumMod val="50000"/>
                    <a:lumOff val="50000"/>
                  </a:srgbClr>
                </a:solidFill>
                <a:effectLst/>
                <a:uLnTx/>
                <a:uFillTx/>
                <a:latin typeface="Tahoma"/>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41</a:t>
            </a:fld>
            <a:endParaRPr kumimoji="0" lang="en-US" sz="1000" b="0" i="0" u="none" strike="noStrike" kern="1200" cap="none" spc="0" normalizeH="0" baseline="0" noProof="0">
              <a:ln>
                <a:noFill/>
              </a:ln>
              <a:solidFill>
                <a:srgbClr val="000000">
                  <a:lumMod val="50000"/>
                  <a:lumOff val="50000"/>
                </a:srgbClr>
              </a:solidFill>
              <a:effectLst/>
              <a:uLnTx/>
              <a:uFillTx/>
              <a:latin typeface="Tahoma"/>
              <a:ea typeface="+mn-ea"/>
              <a:cs typeface="+mn-cs"/>
            </a:endParaRPr>
          </a:p>
        </p:txBody>
      </p:sp>
      <p:sp>
        <p:nvSpPr>
          <p:cNvPr id="7" name="Content Placeholder 2">
            <a:extLst>
              <a:ext uri="{FF2B5EF4-FFF2-40B4-BE49-F238E27FC236}">
                <a16:creationId xmlns:a16="http://schemas.microsoft.com/office/drawing/2014/main" id="{F83D8773-8ACD-C7D2-22EB-74CFE49CF83D}"/>
              </a:ext>
            </a:extLst>
          </p:cNvPr>
          <p:cNvSpPr txBox="1">
            <a:spLocks/>
          </p:cNvSpPr>
          <p:nvPr/>
        </p:nvSpPr>
        <p:spPr>
          <a:xfrm>
            <a:off x="6404206" y="1547461"/>
            <a:ext cx="5181600" cy="4303596"/>
          </a:xfrm>
          <a:prstGeom prst="rect">
            <a:avLst/>
          </a:prstGeom>
        </p:spPr>
        <p:txBody>
          <a:bodyPr vert="horz" lIns="0" tIns="0" rIns="0" bIns="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dirty="0">
              <a:ln>
                <a:noFill/>
              </a:ln>
              <a:solidFill>
                <a:srgbClr val="000000"/>
              </a:solidFill>
              <a:effectLst/>
              <a:uLnTx/>
              <a:uFillTx/>
              <a:latin typeface="Tahoma"/>
              <a:ea typeface="+mn-ea"/>
              <a:cs typeface="+mn-cs"/>
            </a:endParaRPr>
          </a:p>
        </p:txBody>
      </p:sp>
      <p:sp>
        <p:nvSpPr>
          <p:cNvPr id="9" name="Rectangle: Rounded Corners 8">
            <a:extLst>
              <a:ext uri="{FF2B5EF4-FFF2-40B4-BE49-F238E27FC236}">
                <a16:creationId xmlns:a16="http://schemas.microsoft.com/office/drawing/2014/main" id="{B9E460D4-EE0F-DFEB-7B8E-328D1CB105AC}"/>
              </a:ext>
            </a:extLst>
          </p:cNvPr>
          <p:cNvSpPr/>
          <p:nvPr/>
        </p:nvSpPr>
        <p:spPr>
          <a:xfrm>
            <a:off x="6904472" y="1539064"/>
            <a:ext cx="3829722" cy="557176"/>
          </a:xfrm>
          <a:prstGeom prst="roundRect">
            <a:avLst/>
          </a:prstGeom>
          <a:solidFill>
            <a:schemeClr val="accent5">
              <a:lumMod val="25000"/>
            </a:schemeClr>
          </a:solidFill>
          <a:ln>
            <a:solidFill>
              <a:schemeClr val="tx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mn-MN" sz="2400" dirty="0">
                <a:solidFill>
                  <a:srgbClr val="FFFFFF"/>
                </a:solidFill>
                <a:latin typeface="Tahoma"/>
              </a:rPr>
              <a:t>Жил бүр </a:t>
            </a:r>
            <a:r>
              <a:rPr kumimoji="0" lang="en-GB" sz="2400" b="0" i="0" u="none" strike="noStrike" kern="1200" cap="none" spc="0" normalizeH="0" baseline="0" noProof="0" dirty="0">
                <a:ln>
                  <a:noFill/>
                </a:ln>
                <a:solidFill>
                  <a:srgbClr val="FFFFFF"/>
                </a:solidFill>
                <a:effectLst/>
                <a:uLnTx/>
                <a:uFillTx/>
                <a:latin typeface="Tahoma"/>
                <a:ea typeface="+mn-ea"/>
                <a:cs typeface="+mn-cs"/>
              </a:rPr>
              <a:t>32,000 </a:t>
            </a:r>
            <a:r>
              <a:rPr kumimoji="0" lang="mn-MN" sz="2400" b="0" i="0" u="none" strike="noStrike" kern="1200" cap="none" spc="0" normalizeH="0" baseline="0" noProof="0" dirty="0">
                <a:ln>
                  <a:noFill/>
                </a:ln>
                <a:solidFill>
                  <a:srgbClr val="FFFFFF"/>
                </a:solidFill>
                <a:effectLst/>
                <a:uLnTx/>
                <a:uFillTx/>
                <a:latin typeface="Tahoma"/>
                <a:ea typeface="+mn-ea"/>
                <a:cs typeface="+mn-cs"/>
              </a:rPr>
              <a:t>тонн</a:t>
            </a:r>
            <a:endParaRPr kumimoji="0" lang="en-GB" sz="2400" b="0" i="0" u="none" strike="noStrike" kern="1200" cap="none" spc="0" normalizeH="0" baseline="0" noProof="0" dirty="0">
              <a:ln>
                <a:noFill/>
              </a:ln>
              <a:solidFill>
                <a:srgbClr val="FFFFFF"/>
              </a:solidFill>
              <a:effectLst/>
              <a:uLnTx/>
              <a:uFillTx/>
              <a:latin typeface="Tahoma"/>
              <a:ea typeface="+mn-ea"/>
              <a:cs typeface="+mn-cs"/>
            </a:endParaRPr>
          </a:p>
        </p:txBody>
      </p:sp>
      <p:graphicFrame>
        <p:nvGraphicFramePr>
          <p:cNvPr id="10" name="Table 10">
            <a:extLst>
              <a:ext uri="{FF2B5EF4-FFF2-40B4-BE49-F238E27FC236}">
                <a16:creationId xmlns:a16="http://schemas.microsoft.com/office/drawing/2014/main" id="{E48E720F-7367-4FD9-4234-C0EE6386E66B}"/>
              </a:ext>
            </a:extLst>
          </p:cNvPr>
          <p:cNvGraphicFramePr>
            <a:graphicFrameLocks noGrp="1"/>
          </p:cNvGraphicFramePr>
          <p:nvPr>
            <p:extLst>
              <p:ext uri="{D42A27DB-BD31-4B8C-83A1-F6EECF244321}">
                <p14:modId xmlns:p14="http://schemas.microsoft.com/office/powerpoint/2010/main" val="2070381990"/>
              </p:ext>
            </p:extLst>
          </p:nvPr>
        </p:nvGraphicFramePr>
        <p:xfrm>
          <a:off x="6478265" y="2416742"/>
          <a:ext cx="3055792" cy="1554480"/>
        </p:xfrm>
        <a:graphic>
          <a:graphicData uri="http://schemas.openxmlformats.org/drawingml/2006/table">
            <a:tbl>
              <a:tblPr firstRow="1" bandRow="1">
                <a:tableStyleId>{2D5ABB26-0587-4C30-8999-92F81FD0307C}</a:tableStyleId>
              </a:tblPr>
              <a:tblGrid>
                <a:gridCol w="1527896">
                  <a:extLst>
                    <a:ext uri="{9D8B030D-6E8A-4147-A177-3AD203B41FA5}">
                      <a16:colId xmlns:a16="http://schemas.microsoft.com/office/drawing/2014/main" val="583977516"/>
                    </a:ext>
                  </a:extLst>
                </a:gridCol>
                <a:gridCol w="1527896">
                  <a:extLst>
                    <a:ext uri="{9D8B030D-6E8A-4147-A177-3AD203B41FA5}">
                      <a16:colId xmlns:a16="http://schemas.microsoft.com/office/drawing/2014/main" val="2307012577"/>
                    </a:ext>
                  </a:extLst>
                </a:gridCol>
              </a:tblGrid>
              <a:tr h="547610">
                <a:tc>
                  <a:txBody>
                    <a:bodyPr/>
                    <a:lstStyle/>
                    <a:p>
                      <a:pPr algn="ctr"/>
                      <a:r>
                        <a:rPr lang="mn-MN" dirty="0"/>
                        <a:t>Зайлсхийх аргагүй</a:t>
                      </a:r>
                      <a:endParaRPr lang="en-GB" dirty="0"/>
                    </a:p>
                  </a:txBody>
                  <a:tcPr anchor="ctr">
                    <a:lnL>
                      <a:noFill/>
                    </a:lnL>
                    <a:lnR w="12700" cap="flat" cmpd="sng" algn="ctr">
                      <a:solidFill>
                        <a:schemeClr val="accent2"/>
                      </a:solid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mn-MN" dirty="0"/>
                        <a:t>Зайлсхийж болох</a:t>
                      </a:r>
                      <a:endParaRPr lang="en-GB" dirty="0"/>
                    </a:p>
                  </a:txBody>
                  <a:tcPr anchor="ctr">
                    <a:lnL w="12700" cap="flat" cmpd="sng" algn="ctr">
                      <a:solidFill>
                        <a:schemeClr val="accent2"/>
                      </a:solidFill>
                      <a:prstDash val="solid"/>
                      <a:round/>
                      <a:headEnd type="none" w="med" len="med"/>
                      <a:tailEnd type="none" w="med" len="med"/>
                    </a:lnL>
                    <a:lnR>
                      <a:noFill/>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0914298"/>
                  </a:ext>
                </a:extLst>
              </a:tr>
              <a:tr h="559582">
                <a:tc>
                  <a:txBody>
                    <a:bodyPr/>
                    <a:lstStyle/>
                    <a:p>
                      <a:pPr algn="ctr"/>
                      <a:r>
                        <a:rPr lang="mn-MN" dirty="0"/>
                        <a:t>Хүнсний бэлтгэлээс гарах</a:t>
                      </a:r>
                      <a:endParaRPr lang="en-GB" dirty="0"/>
                    </a:p>
                  </a:txBody>
                  <a:tcPr anchor="ctr">
                    <a:lnL>
                      <a:noFill/>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r>
                        <a:rPr lang="mn-MN" dirty="0"/>
                        <a:t>Хүнс, хоолны үлдэгдэл</a:t>
                      </a:r>
                      <a:endParaRPr lang="en-GB" dirty="0"/>
                    </a:p>
                  </a:txBody>
                  <a:tcPr anchor="ctr">
                    <a:lnL w="12700" cap="flat" cmpd="sng" algn="ctr">
                      <a:solidFill>
                        <a:schemeClr val="accent2"/>
                      </a:solid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582385000"/>
                  </a:ext>
                </a:extLst>
              </a:tr>
            </a:tbl>
          </a:graphicData>
        </a:graphic>
      </p:graphicFrame>
      <p:grpSp>
        <p:nvGrpSpPr>
          <p:cNvPr id="25" name="Group 24">
            <a:extLst>
              <a:ext uri="{FF2B5EF4-FFF2-40B4-BE49-F238E27FC236}">
                <a16:creationId xmlns:a16="http://schemas.microsoft.com/office/drawing/2014/main" id="{D574BE60-8592-87DA-C6BC-C2AA8C70D7E6}"/>
              </a:ext>
            </a:extLst>
          </p:cNvPr>
          <p:cNvGrpSpPr/>
          <p:nvPr/>
        </p:nvGrpSpPr>
        <p:grpSpPr>
          <a:xfrm>
            <a:off x="10425654" y="2489985"/>
            <a:ext cx="1468692" cy="2048344"/>
            <a:chOff x="10059208" y="3511431"/>
            <a:chExt cx="1664469" cy="2321389"/>
          </a:xfrm>
        </p:grpSpPr>
        <p:sp>
          <p:nvSpPr>
            <p:cNvPr id="11" name="Gráfico 52">
              <a:extLst>
                <a:ext uri="{FF2B5EF4-FFF2-40B4-BE49-F238E27FC236}">
                  <a16:creationId xmlns:a16="http://schemas.microsoft.com/office/drawing/2014/main" id="{B770131F-39C2-483B-D318-737704837992}"/>
                </a:ext>
              </a:extLst>
            </p:cNvPr>
            <p:cNvSpPr/>
            <p:nvPr/>
          </p:nvSpPr>
          <p:spPr>
            <a:xfrm>
              <a:off x="10519543" y="3511431"/>
              <a:ext cx="729487" cy="650746"/>
            </a:xfrm>
            <a:custGeom>
              <a:avLst/>
              <a:gdLst>
                <a:gd name="connsiteX0" fmla="*/ 571087 w 571086"/>
                <a:gd name="connsiteY0" fmla="*/ 178465 h 571086"/>
                <a:gd name="connsiteX1" fmla="*/ 571087 w 571086"/>
                <a:gd name="connsiteY1" fmla="*/ 107079 h 571086"/>
                <a:gd name="connsiteX2" fmla="*/ 285544 w 571086"/>
                <a:gd name="connsiteY2" fmla="*/ 0 h 571086"/>
                <a:gd name="connsiteX3" fmla="*/ 0 w 571086"/>
                <a:gd name="connsiteY3" fmla="*/ 107079 h 571086"/>
                <a:gd name="connsiteX4" fmla="*/ 0 w 571086"/>
                <a:gd name="connsiteY4" fmla="*/ 178464 h 571086"/>
                <a:gd name="connsiteX5" fmla="*/ 35693 w 571086"/>
                <a:gd name="connsiteY5" fmla="*/ 178464 h 571086"/>
                <a:gd name="connsiteX6" fmla="*/ 35693 w 571086"/>
                <a:gd name="connsiteY6" fmla="*/ 535394 h 571086"/>
                <a:gd name="connsiteX7" fmla="*/ 0 w 571086"/>
                <a:gd name="connsiteY7" fmla="*/ 535394 h 571086"/>
                <a:gd name="connsiteX8" fmla="*/ 0 w 571086"/>
                <a:gd name="connsiteY8" fmla="*/ 571087 h 571086"/>
                <a:gd name="connsiteX9" fmla="*/ 571087 w 571086"/>
                <a:gd name="connsiteY9" fmla="*/ 571087 h 571086"/>
                <a:gd name="connsiteX10" fmla="*/ 571087 w 571086"/>
                <a:gd name="connsiteY10" fmla="*/ 535394 h 571086"/>
                <a:gd name="connsiteX11" fmla="*/ 535394 w 571086"/>
                <a:gd name="connsiteY11" fmla="*/ 535394 h 571086"/>
                <a:gd name="connsiteX12" fmla="*/ 535394 w 571086"/>
                <a:gd name="connsiteY12" fmla="*/ 178465 h 571086"/>
                <a:gd name="connsiteX13" fmla="*/ 321236 w 571086"/>
                <a:gd name="connsiteY13" fmla="*/ 178465 h 571086"/>
                <a:gd name="connsiteX14" fmla="*/ 428315 w 571086"/>
                <a:gd name="connsiteY14" fmla="*/ 178465 h 571086"/>
                <a:gd name="connsiteX15" fmla="*/ 428315 w 571086"/>
                <a:gd name="connsiteY15" fmla="*/ 285544 h 571086"/>
                <a:gd name="connsiteX16" fmla="*/ 321236 w 571086"/>
                <a:gd name="connsiteY16" fmla="*/ 285544 h 571086"/>
                <a:gd name="connsiteX17" fmla="*/ 142772 w 571086"/>
                <a:gd name="connsiteY17" fmla="*/ 178465 h 571086"/>
                <a:gd name="connsiteX18" fmla="*/ 249851 w 571086"/>
                <a:gd name="connsiteY18" fmla="*/ 178465 h 571086"/>
                <a:gd name="connsiteX19" fmla="*/ 249851 w 571086"/>
                <a:gd name="connsiteY19" fmla="*/ 285544 h 571086"/>
                <a:gd name="connsiteX20" fmla="*/ 142772 w 571086"/>
                <a:gd name="connsiteY20" fmla="*/ 285544 h 571086"/>
                <a:gd name="connsiteX21" fmla="*/ 142772 w 571086"/>
                <a:gd name="connsiteY21" fmla="*/ 356930 h 571086"/>
                <a:gd name="connsiteX22" fmla="*/ 249851 w 571086"/>
                <a:gd name="connsiteY22" fmla="*/ 356930 h 571086"/>
                <a:gd name="connsiteX23" fmla="*/ 249851 w 571086"/>
                <a:gd name="connsiteY23" fmla="*/ 464008 h 571086"/>
                <a:gd name="connsiteX24" fmla="*/ 142772 w 571086"/>
                <a:gd name="connsiteY24" fmla="*/ 464008 h 571086"/>
                <a:gd name="connsiteX25" fmla="*/ 321236 w 571086"/>
                <a:gd name="connsiteY25" fmla="*/ 535395 h 571086"/>
                <a:gd name="connsiteX26" fmla="*/ 321236 w 571086"/>
                <a:gd name="connsiteY26" fmla="*/ 356930 h 571086"/>
                <a:gd name="connsiteX27" fmla="*/ 428315 w 571086"/>
                <a:gd name="connsiteY27" fmla="*/ 356930 h 571086"/>
                <a:gd name="connsiteX28" fmla="*/ 428315 w 571086"/>
                <a:gd name="connsiteY28" fmla="*/ 535395 h 57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71086" h="571086">
                  <a:moveTo>
                    <a:pt x="571087" y="178465"/>
                  </a:moveTo>
                  <a:lnTo>
                    <a:pt x="571087" y="107079"/>
                  </a:lnTo>
                  <a:lnTo>
                    <a:pt x="285544" y="0"/>
                  </a:lnTo>
                  <a:lnTo>
                    <a:pt x="0" y="107079"/>
                  </a:lnTo>
                  <a:lnTo>
                    <a:pt x="0" y="178464"/>
                  </a:lnTo>
                  <a:lnTo>
                    <a:pt x="35693" y="178464"/>
                  </a:lnTo>
                  <a:lnTo>
                    <a:pt x="35693" y="535394"/>
                  </a:lnTo>
                  <a:lnTo>
                    <a:pt x="0" y="535394"/>
                  </a:lnTo>
                  <a:lnTo>
                    <a:pt x="0" y="571087"/>
                  </a:lnTo>
                  <a:lnTo>
                    <a:pt x="571087" y="571087"/>
                  </a:lnTo>
                  <a:lnTo>
                    <a:pt x="571087" y="535394"/>
                  </a:lnTo>
                  <a:lnTo>
                    <a:pt x="535394" y="535394"/>
                  </a:lnTo>
                  <a:lnTo>
                    <a:pt x="535394" y="178465"/>
                  </a:lnTo>
                  <a:close/>
                  <a:moveTo>
                    <a:pt x="321236" y="178465"/>
                  </a:moveTo>
                  <a:lnTo>
                    <a:pt x="428315" y="178465"/>
                  </a:lnTo>
                  <a:lnTo>
                    <a:pt x="428315" y="285544"/>
                  </a:lnTo>
                  <a:lnTo>
                    <a:pt x="321236" y="285544"/>
                  </a:lnTo>
                  <a:close/>
                  <a:moveTo>
                    <a:pt x="142772" y="178465"/>
                  </a:moveTo>
                  <a:lnTo>
                    <a:pt x="249851" y="178465"/>
                  </a:lnTo>
                  <a:lnTo>
                    <a:pt x="249851" y="285544"/>
                  </a:lnTo>
                  <a:lnTo>
                    <a:pt x="142772" y="285544"/>
                  </a:lnTo>
                  <a:close/>
                  <a:moveTo>
                    <a:pt x="142772" y="356930"/>
                  </a:moveTo>
                  <a:lnTo>
                    <a:pt x="249851" y="356930"/>
                  </a:lnTo>
                  <a:lnTo>
                    <a:pt x="249851" y="464008"/>
                  </a:lnTo>
                  <a:lnTo>
                    <a:pt x="142772" y="464008"/>
                  </a:lnTo>
                  <a:close/>
                  <a:moveTo>
                    <a:pt x="321236" y="535395"/>
                  </a:moveTo>
                  <a:lnTo>
                    <a:pt x="321236" y="356930"/>
                  </a:lnTo>
                  <a:lnTo>
                    <a:pt x="428315" y="356930"/>
                  </a:lnTo>
                  <a:lnTo>
                    <a:pt x="428315" y="535395"/>
                  </a:lnTo>
                  <a:close/>
                </a:path>
              </a:pathLst>
            </a:custGeom>
            <a:solidFill>
              <a:schemeClr val="accent2">
                <a:lumMod val="75000"/>
              </a:schemeClr>
            </a:solidFill>
            <a:ln w="107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MX" sz="1600" b="0" i="0" u="none" strike="noStrike" kern="1200" cap="none" spc="0" normalizeH="0" baseline="0" noProof="0">
                <a:ln>
                  <a:noFill/>
                </a:ln>
                <a:solidFill>
                  <a:srgbClr val="000000"/>
                </a:solidFill>
                <a:effectLst/>
                <a:uLnTx/>
                <a:uFillTx/>
                <a:latin typeface="Tahoma"/>
                <a:ea typeface="+mn-ea"/>
                <a:cs typeface="+mn-cs"/>
              </a:endParaRPr>
            </a:p>
          </p:txBody>
        </p:sp>
        <p:grpSp>
          <p:nvGrpSpPr>
            <p:cNvPr id="12" name="Gráfico 62">
              <a:extLst>
                <a:ext uri="{FF2B5EF4-FFF2-40B4-BE49-F238E27FC236}">
                  <a16:creationId xmlns:a16="http://schemas.microsoft.com/office/drawing/2014/main" id="{4227C05B-F531-76FF-548D-91E3E3CBFCD6}"/>
                </a:ext>
              </a:extLst>
            </p:cNvPr>
            <p:cNvGrpSpPr/>
            <p:nvPr/>
          </p:nvGrpSpPr>
          <p:grpSpPr>
            <a:xfrm>
              <a:off x="10487228" y="4775616"/>
              <a:ext cx="754791" cy="708400"/>
              <a:chOff x="1743271" y="1569831"/>
              <a:chExt cx="570831" cy="570831"/>
            </a:xfrm>
            <a:solidFill>
              <a:schemeClr val="accent2">
                <a:lumMod val="75000"/>
              </a:schemeClr>
            </a:solidFill>
          </p:grpSpPr>
          <p:sp>
            <p:nvSpPr>
              <p:cNvPr id="13" name="Forma libre 138">
                <a:extLst>
                  <a:ext uri="{FF2B5EF4-FFF2-40B4-BE49-F238E27FC236}">
                    <a16:creationId xmlns:a16="http://schemas.microsoft.com/office/drawing/2014/main" id="{ECF006CC-B577-DFB6-4B1B-5E20FFCE73D1}"/>
                  </a:ext>
                </a:extLst>
              </p:cNvPr>
              <p:cNvSpPr/>
              <p:nvPr/>
            </p:nvSpPr>
            <p:spPr>
              <a:xfrm>
                <a:off x="1743271" y="1605524"/>
                <a:ext cx="275690" cy="346560"/>
              </a:xfrm>
              <a:custGeom>
                <a:avLst/>
                <a:gdLst>
                  <a:gd name="connsiteX0" fmla="*/ 275690 w 275690"/>
                  <a:gd name="connsiteY0" fmla="*/ 194453 h 346560"/>
                  <a:gd name="connsiteX1" fmla="*/ 79886 w 275690"/>
                  <a:gd name="connsiteY1" fmla="*/ 0 h 346560"/>
                  <a:gd name="connsiteX2" fmla="*/ 52185 w 275690"/>
                  <a:gd name="connsiteY2" fmla="*/ 275161 h 346560"/>
                  <a:gd name="connsiteX3" fmla="*/ 123584 w 275690"/>
                  <a:gd name="connsiteY3" fmla="*/ 346561 h 346560"/>
                  <a:gd name="connsiteX4" fmla="*/ 275690 w 275690"/>
                  <a:gd name="connsiteY4" fmla="*/ 194453 h 34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690" h="346560">
                    <a:moveTo>
                      <a:pt x="275690" y="194453"/>
                    </a:moveTo>
                    <a:lnTo>
                      <a:pt x="79886" y="0"/>
                    </a:lnTo>
                    <a:cubicBezTo>
                      <a:pt x="-16415" y="64872"/>
                      <a:pt x="-25650" y="197329"/>
                      <a:pt x="52185" y="275161"/>
                    </a:cubicBezTo>
                    <a:lnTo>
                      <a:pt x="123584" y="346561"/>
                    </a:lnTo>
                    <a:cubicBezTo>
                      <a:pt x="123583" y="346560"/>
                      <a:pt x="275690" y="194453"/>
                      <a:pt x="275690" y="194453"/>
                    </a:cubicBezTo>
                    <a:close/>
                  </a:path>
                </a:pathLst>
              </a:custGeom>
              <a:grpFill/>
              <a:ln w="107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MX" sz="1600" b="0" i="0" u="none" strike="noStrike" kern="1200" cap="none" spc="0" normalizeH="0" baseline="0" noProof="0">
                  <a:ln>
                    <a:noFill/>
                  </a:ln>
                  <a:solidFill>
                    <a:srgbClr val="000000"/>
                  </a:solidFill>
                  <a:effectLst/>
                  <a:uLnTx/>
                  <a:uFillTx/>
                  <a:latin typeface="Tahoma"/>
                  <a:ea typeface="+mn-ea"/>
                  <a:cs typeface="+mn-cs"/>
                </a:endParaRPr>
              </a:p>
            </p:txBody>
          </p:sp>
          <p:sp>
            <p:nvSpPr>
              <p:cNvPr id="14" name="Forma libre 139">
                <a:extLst>
                  <a:ext uri="{FF2B5EF4-FFF2-40B4-BE49-F238E27FC236}">
                    <a16:creationId xmlns:a16="http://schemas.microsoft.com/office/drawing/2014/main" id="{3552D018-E2D7-3E9E-BDB5-13FD3FA7021C}"/>
                  </a:ext>
                </a:extLst>
              </p:cNvPr>
              <p:cNvSpPr/>
              <p:nvPr/>
            </p:nvSpPr>
            <p:spPr>
              <a:xfrm>
                <a:off x="1814657" y="1605524"/>
                <a:ext cx="499700" cy="499700"/>
              </a:xfrm>
              <a:custGeom>
                <a:avLst/>
                <a:gdLst>
                  <a:gd name="connsiteX0" fmla="*/ 344239 w 499700"/>
                  <a:gd name="connsiteY0" fmla="*/ 286486 h 499700"/>
                  <a:gd name="connsiteX1" fmla="*/ 453392 w 499700"/>
                  <a:gd name="connsiteY1" fmla="*/ 240179 h 499700"/>
                  <a:gd name="connsiteX2" fmla="*/ 462002 w 499700"/>
                  <a:gd name="connsiteY2" fmla="*/ 37699 h 499700"/>
                  <a:gd name="connsiteX3" fmla="*/ 259521 w 499700"/>
                  <a:gd name="connsiteY3" fmla="*/ 46308 h 499700"/>
                  <a:gd name="connsiteX4" fmla="*/ 229761 w 499700"/>
                  <a:gd name="connsiteY4" fmla="*/ 219464 h 499700"/>
                  <a:gd name="connsiteX5" fmla="*/ 0 w 499700"/>
                  <a:gd name="connsiteY5" fmla="*/ 449222 h 499700"/>
                  <a:gd name="connsiteX6" fmla="*/ 50476 w 499700"/>
                  <a:gd name="connsiteY6" fmla="*/ 499700 h 499700"/>
                  <a:gd name="connsiteX7" fmla="*/ 228990 w 499700"/>
                  <a:gd name="connsiteY7" fmla="*/ 321186 h 499700"/>
                  <a:gd name="connsiteX8" fmla="*/ 410363 w 499700"/>
                  <a:gd name="connsiteY8" fmla="*/ 499700 h 499700"/>
                  <a:gd name="connsiteX9" fmla="*/ 460841 w 499700"/>
                  <a:gd name="connsiteY9" fmla="*/ 449222 h 499700"/>
                  <a:gd name="connsiteX10" fmla="*/ 280421 w 499700"/>
                  <a:gd name="connsiteY10" fmla="*/ 270042 h 499700"/>
                  <a:gd name="connsiteX11" fmla="*/ 344239 w 499700"/>
                  <a:gd name="connsiteY11" fmla="*/ 286486 h 49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700" h="499700">
                    <a:moveTo>
                      <a:pt x="344239" y="286486"/>
                    </a:moveTo>
                    <a:cubicBezTo>
                      <a:pt x="382860" y="286486"/>
                      <a:pt x="422667" y="270905"/>
                      <a:pt x="453392" y="240179"/>
                    </a:cubicBezTo>
                    <a:cubicBezTo>
                      <a:pt x="511603" y="181986"/>
                      <a:pt x="515454" y="91151"/>
                      <a:pt x="462002" y="37699"/>
                    </a:cubicBezTo>
                    <a:cubicBezTo>
                      <a:pt x="408515" y="-15753"/>
                      <a:pt x="317696" y="-11901"/>
                      <a:pt x="259521" y="46308"/>
                    </a:cubicBezTo>
                    <a:cubicBezTo>
                      <a:pt x="210880" y="94938"/>
                      <a:pt x="200768" y="166110"/>
                      <a:pt x="229761" y="219464"/>
                    </a:cubicBezTo>
                    <a:lnTo>
                      <a:pt x="0" y="449222"/>
                    </a:lnTo>
                    <a:lnTo>
                      <a:pt x="50476" y="499700"/>
                    </a:lnTo>
                    <a:lnTo>
                      <a:pt x="228990" y="321186"/>
                    </a:lnTo>
                    <a:lnTo>
                      <a:pt x="410363" y="499700"/>
                    </a:lnTo>
                    <a:lnTo>
                      <a:pt x="460841" y="449222"/>
                    </a:lnTo>
                    <a:lnTo>
                      <a:pt x="280421" y="270042"/>
                    </a:lnTo>
                    <a:cubicBezTo>
                      <a:pt x="300024" y="280655"/>
                      <a:pt x="321803" y="286486"/>
                      <a:pt x="344239" y="286486"/>
                    </a:cubicBezTo>
                    <a:close/>
                  </a:path>
                </a:pathLst>
              </a:custGeom>
              <a:grpFill/>
              <a:ln w="107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MX" sz="1600" b="0" i="0" u="none" strike="noStrike" kern="1200" cap="none" spc="0" normalizeH="0" baseline="0" noProof="0">
                  <a:ln>
                    <a:noFill/>
                  </a:ln>
                  <a:solidFill>
                    <a:srgbClr val="000000"/>
                  </a:solidFill>
                  <a:effectLst/>
                  <a:uLnTx/>
                  <a:uFillTx/>
                  <a:latin typeface="Tahoma"/>
                  <a:ea typeface="+mn-ea"/>
                  <a:cs typeface="+mn-cs"/>
                </a:endParaRPr>
              </a:p>
            </p:txBody>
          </p:sp>
        </p:grpSp>
        <p:sp>
          <p:nvSpPr>
            <p:cNvPr id="15" name="TextBox 14">
              <a:extLst>
                <a:ext uri="{FF2B5EF4-FFF2-40B4-BE49-F238E27FC236}">
                  <a16:creationId xmlns:a16="http://schemas.microsoft.com/office/drawing/2014/main" id="{BC96A2B3-4B53-5358-B2FF-819042317837}"/>
                </a:ext>
              </a:extLst>
            </p:cNvPr>
            <p:cNvSpPr txBox="1"/>
            <p:nvPr/>
          </p:nvSpPr>
          <p:spPr>
            <a:xfrm>
              <a:off x="10094387" y="4237513"/>
              <a:ext cx="1629290" cy="34880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mn-MN" sz="1400" dirty="0">
                  <a:solidFill>
                    <a:srgbClr val="9E2B1F"/>
                  </a:solidFill>
                  <a:latin typeface="Tahoma"/>
                </a:rPr>
                <a:t>ӨРХ</a:t>
              </a:r>
              <a:endParaRPr kumimoji="0" lang="en-GB" sz="1400" b="0" i="0" u="none" strike="noStrike" kern="1200" cap="none" spc="0" normalizeH="0" baseline="0" noProof="0" dirty="0">
                <a:ln>
                  <a:noFill/>
                </a:ln>
                <a:solidFill>
                  <a:srgbClr val="9E2B1F"/>
                </a:solidFill>
                <a:effectLst/>
                <a:uLnTx/>
                <a:uFillTx/>
                <a:latin typeface="Tahoma"/>
                <a:ea typeface="+mn-ea"/>
                <a:cs typeface="+mn-cs"/>
              </a:endParaRPr>
            </a:p>
          </p:txBody>
        </p:sp>
        <p:sp>
          <p:nvSpPr>
            <p:cNvPr id="16" name="TextBox 15">
              <a:extLst>
                <a:ext uri="{FF2B5EF4-FFF2-40B4-BE49-F238E27FC236}">
                  <a16:creationId xmlns:a16="http://schemas.microsoft.com/office/drawing/2014/main" id="{AFF1E588-70D1-8E03-0067-5C1432684992}"/>
                </a:ext>
              </a:extLst>
            </p:cNvPr>
            <p:cNvSpPr txBox="1"/>
            <p:nvPr/>
          </p:nvSpPr>
          <p:spPr>
            <a:xfrm>
              <a:off x="10059208" y="5484016"/>
              <a:ext cx="1629290" cy="34880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mn-MN" sz="1400" b="0" i="0" u="none" strike="noStrike" kern="1200" cap="none" spc="0" normalizeH="0" baseline="0" noProof="0" dirty="0">
                  <a:ln>
                    <a:noFill/>
                  </a:ln>
                  <a:solidFill>
                    <a:srgbClr val="9E2B1F"/>
                  </a:solidFill>
                  <a:effectLst/>
                  <a:uLnTx/>
                  <a:uFillTx/>
                  <a:latin typeface="Tahoma"/>
                  <a:ea typeface="+mn-ea"/>
                  <a:cs typeface="+mn-cs"/>
                </a:rPr>
                <a:t>БАЙГУУЛЛАГА</a:t>
              </a:r>
              <a:endParaRPr kumimoji="0" lang="en-GB" sz="1400" b="0" i="0" u="none" strike="noStrike" kern="1200" cap="none" spc="0" normalizeH="0" baseline="0" noProof="0" dirty="0">
                <a:ln>
                  <a:noFill/>
                </a:ln>
                <a:solidFill>
                  <a:srgbClr val="9E2B1F"/>
                </a:solidFill>
                <a:effectLst/>
                <a:uLnTx/>
                <a:uFillTx/>
                <a:latin typeface="Tahoma"/>
                <a:ea typeface="+mn-ea"/>
                <a:cs typeface="+mn-cs"/>
              </a:endParaRPr>
            </a:p>
          </p:txBody>
        </p:sp>
      </p:grpSp>
      <p:pic>
        <p:nvPicPr>
          <p:cNvPr id="17" name="Picture 16" descr="P305C3T8#yIS1">
            <a:extLst>
              <a:ext uri="{FF2B5EF4-FFF2-40B4-BE49-F238E27FC236}">
                <a16:creationId xmlns:a16="http://schemas.microsoft.com/office/drawing/2014/main" id="{A2E1B6FC-4258-EE48-ABE4-707802421A6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734194" y="5004652"/>
            <a:ext cx="851612" cy="851612"/>
          </a:xfrm>
          <a:prstGeom prst="rect">
            <a:avLst/>
          </a:prstGeom>
        </p:spPr>
      </p:pic>
      <p:pic>
        <p:nvPicPr>
          <p:cNvPr id="18" name="Content Placeholder 7" descr="P301C2T8#yIS1">
            <a:extLst>
              <a:ext uri="{FF2B5EF4-FFF2-40B4-BE49-F238E27FC236}">
                <a16:creationId xmlns:a16="http://schemas.microsoft.com/office/drawing/2014/main" id="{59D0C955-0E31-791D-E785-98BA155DF1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02923" y="4921333"/>
            <a:ext cx="1018250" cy="1018250"/>
          </a:xfrm>
          <a:prstGeom prst="rect">
            <a:avLst/>
          </a:prstGeom>
        </p:spPr>
      </p:pic>
      <p:grpSp>
        <p:nvGrpSpPr>
          <p:cNvPr id="26" name="Group 25">
            <a:extLst>
              <a:ext uri="{FF2B5EF4-FFF2-40B4-BE49-F238E27FC236}">
                <a16:creationId xmlns:a16="http://schemas.microsoft.com/office/drawing/2014/main" id="{943455CC-4BB4-C788-3F60-BB87902D5C05}"/>
              </a:ext>
            </a:extLst>
          </p:cNvPr>
          <p:cNvGrpSpPr/>
          <p:nvPr/>
        </p:nvGrpSpPr>
        <p:grpSpPr>
          <a:xfrm>
            <a:off x="6182167" y="3869870"/>
            <a:ext cx="3107735" cy="1779673"/>
            <a:chOff x="6224601" y="3794705"/>
            <a:chExt cx="3006922" cy="1634210"/>
          </a:xfrm>
        </p:grpSpPr>
        <p:pic>
          <p:nvPicPr>
            <p:cNvPr id="20" name="Graphic 19" descr="Seeds with solid fill">
              <a:extLst>
                <a:ext uri="{FF2B5EF4-FFF2-40B4-BE49-F238E27FC236}">
                  <a16:creationId xmlns:a16="http://schemas.microsoft.com/office/drawing/2014/main" id="{6C3C0321-C6FB-C829-4DCE-D989607ED66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24601" y="4318024"/>
              <a:ext cx="1110891" cy="1110891"/>
            </a:xfrm>
            <a:prstGeom prst="rect">
              <a:avLst/>
            </a:prstGeom>
          </p:spPr>
        </p:pic>
        <p:pic>
          <p:nvPicPr>
            <p:cNvPr id="22" name="Graphic 21" descr="No Littering with solid fill">
              <a:extLst>
                <a:ext uri="{FF2B5EF4-FFF2-40B4-BE49-F238E27FC236}">
                  <a16:creationId xmlns:a16="http://schemas.microsoft.com/office/drawing/2014/main" id="{F57B4513-8CED-AEF0-3946-E2E7B6054DE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70537" y="3794705"/>
              <a:ext cx="1458332" cy="1458332"/>
            </a:xfrm>
            <a:prstGeom prst="rect">
              <a:avLst/>
            </a:prstGeom>
          </p:spPr>
        </p:pic>
        <p:pic>
          <p:nvPicPr>
            <p:cNvPr id="24" name="Graphic 23" descr="Garbage with solid fill">
              <a:extLst>
                <a:ext uri="{FF2B5EF4-FFF2-40B4-BE49-F238E27FC236}">
                  <a16:creationId xmlns:a16="http://schemas.microsoft.com/office/drawing/2014/main" id="{C4855E2F-BC49-751A-2E7A-AFF15CA312F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3914" y="4371417"/>
              <a:ext cx="967609" cy="967609"/>
            </a:xfrm>
            <a:prstGeom prst="rect">
              <a:avLst/>
            </a:prstGeom>
          </p:spPr>
        </p:pic>
      </p:grpSp>
    </p:spTree>
    <p:extLst>
      <p:ext uri="{BB962C8B-B14F-4D97-AF65-F5344CB8AC3E}">
        <p14:creationId xmlns:p14="http://schemas.microsoft.com/office/powerpoint/2010/main" val="12137040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B49D2-D4DB-C796-6C82-2BA4C088C5E5}"/>
              </a:ext>
            </a:extLst>
          </p:cNvPr>
          <p:cNvSpPr>
            <a:spLocks noGrp="1"/>
          </p:cNvSpPr>
          <p:nvPr>
            <p:ph type="title"/>
          </p:nvPr>
        </p:nvSpPr>
        <p:spPr/>
        <p:txBody>
          <a:bodyPr/>
          <a:lstStyle/>
          <a:p>
            <a:r>
              <a:rPr lang="mn-MN" dirty="0"/>
              <a:t>СУДАЛГААНЫ МЭДЭЭЛЛИЙГ ХЭРХЭН АШИГЛАХ ВЭ</a:t>
            </a:r>
            <a:r>
              <a:rPr lang="en-GB" dirty="0"/>
              <a:t>?</a:t>
            </a:r>
          </a:p>
        </p:txBody>
      </p:sp>
      <p:sp>
        <p:nvSpPr>
          <p:cNvPr id="4" name="Slide Number Placeholder 3">
            <a:extLst>
              <a:ext uri="{FF2B5EF4-FFF2-40B4-BE49-F238E27FC236}">
                <a16:creationId xmlns:a16="http://schemas.microsoft.com/office/drawing/2014/main" id="{6EC765E5-B8A5-7897-559E-A3AE91FB6424}"/>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22BD14A0-459B-CA46-A763-3163F186A6C2}" type="slidenum">
              <a:rPr kumimoji="0" lang="en-US" sz="1000" b="0" i="0" u="none" strike="noStrike" kern="1200" cap="none" spc="0" normalizeH="0" baseline="0" noProof="0" smtClean="0">
                <a:ln>
                  <a:noFill/>
                </a:ln>
                <a:solidFill>
                  <a:srgbClr val="000000">
                    <a:lumMod val="50000"/>
                    <a:lumOff val="50000"/>
                  </a:srgbClr>
                </a:solidFill>
                <a:effectLst/>
                <a:uLnTx/>
                <a:uFillTx/>
                <a:latin typeface="Tahoma"/>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42</a:t>
            </a:fld>
            <a:endParaRPr kumimoji="0" lang="en-US" sz="1000" b="0" i="0" u="none" strike="noStrike" kern="1200" cap="none" spc="0" normalizeH="0" baseline="0" noProof="0">
              <a:ln>
                <a:noFill/>
              </a:ln>
              <a:solidFill>
                <a:srgbClr val="000000">
                  <a:lumMod val="50000"/>
                  <a:lumOff val="50000"/>
                </a:srgbClr>
              </a:solidFill>
              <a:effectLst/>
              <a:uLnTx/>
              <a:uFillTx/>
              <a:latin typeface="Tahoma"/>
              <a:ea typeface="+mn-ea"/>
              <a:cs typeface="+mn-cs"/>
            </a:endParaRPr>
          </a:p>
        </p:txBody>
      </p:sp>
      <p:grpSp>
        <p:nvGrpSpPr>
          <p:cNvPr id="100" name="Group 99">
            <a:extLst>
              <a:ext uri="{FF2B5EF4-FFF2-40B4-BE49-F238E27FC236}">
                <a16:creationId xmlns:a16="http://schemas.microsoft.com/office/drawing/2014/main" id="{6570DA7B-6023-7566-3A46-84B6B7742E3D}"/>
              </a:ext>
            </a:extLst>
          </p:cNvPr>
          <p:cNvGrpSpPr/>
          <p:nvPr/>
        </p:nvGrpSpPr>
        <p:grpSpPr>
          <a:xfrm>
            <a:off x="1952474" y="1465585"/>
            <a:ext cx="9759165" cy="4351146"/>
            <a:chOff x="2027777" y="2024983"/>
            <a:chExt cx="9689761" cy="4351146"/>
          </a:xfrm>
        </p:grpSpPr>
        <p:sp>
          <p:nvSpPr>
            <p:cNvPr id="5" name="Oval 4">
              <a:extLst>
                <a:ext uri="{FF2B5EF4-FFF2-40B4-BE49-F238E27FC236}">
                  <a16:creationId xmlns:a16="http://schemas.microsoft.com/office/drawing/2014/main" id="{CCA80DDA-BD6C-D993-6559-085FF027F9BB}"/>
                </a:ext>
              </a:extLst>
            </p:cNvPr>
            <p:cNvSpPr/>
            <p:nvPr/>
          </p:nvSpPr>
          <p:spPr>
            <a:xfrm>
              <a:off x="2027777" y="3309322"/>
              <a:ext cx="1825666" cy="1825666"/>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FFFFFF"/>
                </a:solidFill>
                <a:effectLst/>
                <a:uLnTx/>
                <a:uFillTx/>
                <a:latin typeface="Tahoma"/>
                <a:ea typeface="+mn-ea"/>
                <a:cs typeface="+mn-cs"/>
              </a:endParaRPr>
            </a:p>
          </p:txBody>
        </p:sp>
        <p:sp>
          <p:nvSpPr>
            <p:cNvPr id="6" name="Freeform 1">
              <a:extLst>
                <a:ext uri="{FF2B5EF4-FFF2-40B4-BE49-F238E27FC236}">
                  <a16:creationId xmlns:a16="http://schemas.microsoft.com/office/drawing/2014/main" id="{ED1B7BE7-17E7-42CF-0042-91DFBFCAB0B4}"/>
                </a:ext>
              </a:extLst>
            </p:cNvPr>
            <p:cNvSpPr>
              <a:spLocks noChangeArrowheads="1"/>
            </p:cNvSpPr>
            <p:nvPr/>
          </p:nvSpPr>
          <p:spPr bwMode="auto">
            <a:xfrm>
              <a:off x="2880687" y="2500840"/>
              <a:ext cx="26323" cy="1880"/>
            </a:xfrm>
            <a:custGeom>
              <a:avLst/>
              <a:gdLst>
                <a:gd name="T0" fmla="*/ 0 w 60"/>
                <a:gd name="T1" fmla="*/ 0 h 1"/>
                <a:gd name="T2" fmla="*/ 0 w 60"/>
                <a:gd name="T3" fmla="*/ 0 h 1"/>
                <a:gd name="T4" fmla="*/ 59 w 60"/>
                <a:gd name="T5" fmla="*/ 0 h 1"/>
              </a:gdLst>
              <a:ahLst/>
              <a:cxnLst>
                <a:cxn ang="0">
                  <a:pos x="T0" y="T1"/>
                </a:cxn>
                <a:cxn ang="0">
                  <a:pos x="T2" y="T3"/>
                </a:cxn>
                <a:cxn ang="0">
                  <a:pos x="T4" y="T5"/>
                </a:cxn>
              </a:cxnLst>
              <a:rect l="0" t="0" r="r" b="b"/>
              <a:pathLst>
                <a:path w="60" h="1">
                  <a:moveTo>
                    <a:pt x="0" y="0"/>
                  </a:moveTo>
                  <a:lnTo>
                    <a:pt x="0" y="0"/>
                  </a:lnTo>
                  <a:cubicBezTo>
                    <a:pt x="19" y="0"/>
                    <a:pt x="39" y="0"/>
                    <a:pt x="59" y="0"/>
                  </a:cubicBezTo>
                </a:path>
              </a:pathLst>
            </a:custGeom>
            <a:noFill/>
            <a:ln w="76200" cap="flat">
              <a:solidFill>
                <a:srgbClr val="232323"/>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7" name="Line 2">
              <a:extLst>
                <a:ext uri="{FF2B5EF4-FFF2-40B4-BE49-F238E27FC236}">
                  <a16:creationId xmlns:a16="http://schemas.microsoft.com/office/drawing/2014/main" id="{17B34FD1-E79D-A3D1-A7DE-FFC7B3EDF3FC}"/>
                </a:ext>
              </a:extLst>
            </p:cNvPr>
            <p:cNvSpPr>
              <a:spLocks noChangeShapeType="1"/>
            </p:cNvSpPr>
            <p:nvPr/>
          </p:nvSpPr>
          <p:spPr bwMode="auto">
            <a:xfrm>
              <a:off x="2963416" y="2510240"/>
              <a:ext cx="50766" cy="1881"/>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8" name="Line 3">
              <a:extLst>
                <a:ext uri="{FF2B5EF4-FFF2-40B4-BE49-F238E27FC236}">
                  <a16:creationId xmlns:a16="http://schemas.microsoft.com/office/drawing/2014/main" id="{13204AE7-C4E4-B501-D02D-DCD677546A8D}"/>
                </a:ext>
              </a:extLst>
            </p:cNvPr>
            <p:cNvSpPr>
              <a:spLocks noChangeShapeType="1"/>
            </p:cNvSpPr>
            <p:nvPr/>
          </p:nvSpPr>
          <p:spPr bwMode="auto">
            <a:xfrm>
              <a:off x="3072467" y="2510240"/>
              <a:ext cx="58287" cy="1881"/>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9" name="Line 4">
              <a:extLst>
                <a:ext uri="{FF2B5EF4-FFF2-40B4-BE49-F238E27FC236}">
                  <a16:creationId xmlns:a16="http://schemas.microsoft.com/office/drawing/2014/main" id="{9BDD0F31-0EF3-63B2-265E-5CD22E4D033E}"/>
                </a:ext>
              </a:extLst>
            </p:cNvPr>
            <p:cNvSpPr>
              <a:spLocks noChangeShapeType="1"/>
            </p:cNvSpPr>
            <p:nvPr/>
          </p:nvSpPr>
          <p:spPr bwMode="auto">
            <a:xfrm>
              <a:off x="3181518" y="2517761"/>
              <a:ext cx="58287" cy="1881"/>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10" name="Line 5">
              <a:extLst>
                <a:ext uri="{FF2B5EF4-FFF2-40B4-BE49-F238E27FC236}">
                  <a16:creationId xmlns:a16="http://schemas.microsoft.com/office/drawing/2014/main" id="{E97012F8-5373-5358-FFDB-C843CD5E0879}"/>
                </a:ext>
              </a:extLst>
            </p:cNvPr>
            <p:cNvSpPr>
              <a:spLocks noChangeShapeType="1"/>
            </p:cNvSpPr>
            <p:nvPr/>
          </p:nvSpPr>
          <p:spPr bwMode="auto">
            <a:xfrm>
              <a:off x="3298090" y="2517761"/>
              <a:ext cx="50766" cy="9402"/>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11" name="Line 6">
              <a:extLst>
                <a:ext uri="{FF2B5EF4-FFF2-40B4-BE49-F238E27FC236}">
                  <a16:creationId xmlns:a16="http://schemas.microsoft.com/office/drawing/2014/main" id="{2DBDEA0D-2FE3-6F48-E1CD-E8AC62C54D76}"/>
                </a:ext>
              </a:extLst>
            </p:cNvPr>
            <p:cNvSpPr>
              <a:spLocks noChangeShapeType="1"/>
            </p:cNvSpPr>
            <p:nvPr/>
          </p:nvSpPr>
          <p:spPr bwMode="auto">
            <a:xfrm>
              <a:off x="3407141" y="2527162"/>
              <a:ext cx="58287" cy="1880"/>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12" name="Line 7">
              <a:extLst>
                <a:ext uri="{FF2B5EF4-FFF2-40B4-BE49-F238E27FC236}">
                  <a16:creationId xmlns:a16="http://schemas.microsoft.com/office/drawing/2014/main" id="{B854B2E9-267B-F467-21C4-D12461B6555B}"/>
                </a:ext>
              </a:extLst>
            </p:cNvPr>
            <p:cNvSpPr>
              <a:spLocks noChangeShapeType="1"/>
            </p:cNvSpPr>
            <p:nvPr/>
          </p:nvSpPr>
          <p:spPr bwMode="auto">
            <a:xfrm>
              <a:off x="3514313" y="2534683"/>
              <a:ext cx="58286" cy="1880"/>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13" name="Line 8">
              <a:extLst>
                <a:ext uri="{FF2B5EF4-FFF2-40B4-BE49-F238E27FC236}">
                  <a16:creationId xmlns:a16="http://schemas.microsoft.com/office/drawing/2014/main" id="{18B122BB-43AC-0231-8239-C5922B391153}"/>
                </a:ext>
              </a:extLst>
            </p:cNvPr>
            <p:cNvSpPr>
              <a:spLocks noChangeShapeType="1"/>
            </p:cNvSpPr>
            <p:nvPr/>
          </p:nvSpPr>
          <p:spPr bwMode="auto">
            <a:xfrm>
              <a:off x="3632764" y="2534683"/>
              <a:ext cx="50766" cy="7521"/>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14" name="Line 9">
              <a:extLst>
                <a:ext uri="{FF2B5EF4-FFF2-40B4-BE49-F238E27FC236}">
                  <a16:creationId xmlns:a16="http://schemas.microsoft.com/office/drawing/2014/main" id="{F95A03CA-CCD0-E044-566F-BC176741A4DD}"/>
                </a:ext>
              </a:extLst>
            </p:cNvPr>
            <p:cNvSpPr>
              <a:spLocks noChangeShapeType="1"/>
            </p:cNvSpPr>
            <p:nvPr/>
          </p:nvSpPr>
          <p:spPr bwMode="auto">
            <a:xfrm>
              <a:off x="3739936" y="2544084"/>
              <a:ext cx="58286" cy="1881"/>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15" name="Freeform 10">
              <a:extLst>
                <a:ext uri="{FF2B5EF4-FFF2-40B4-BE49-F238E27FC236}">
                  <a16:creationId xmlns:a16="http://schemas.microsoft.com/office/drawing/2014/main" id="{6DA02F0E-9D08-3A50-758E-29DE2CDCDD4D}"/>
                </a:ext>
              </a:extLst>
            </p:cNvPr>
            <p:cNvSpPr>
              <a:spLocks noChangeArrowheads="1"/>
            </p:cNvSpPr>
            <p:nvPr/>
          </p:nvSpPr>
          <p:spPr bwMode="auto">
            <a:xfrm>
              <a:off x="3848987" y="2551604"/>
              <a:ext cx="50765" cy="26323"/>
            </a:xfrm>
            <a:custGeom>
              <a:avLst/>
              <a:gdLst>
                <a:gd name="T0" fmla="*/ 0 w 119"/>
                <a:gd name="T1" fmla="*/ 0 h 60"/>
                <a:gd name="T2" fmla="*/ 40 w 119"/>
                <a:gd name="T3" fmla="*/ 0 h 60"/>
                <a:gd name="T4" fmla="*/ 118 w 119"/>
                <a:gd name="T5" fmla="*/ 59 h 60"/>
              </a:gdLst>
              <a:ahLst/>
              <a:cxnLst>
                <a:cxn ang="0">
                  <a:pos x="T0" y="T1"/>
                </a:cxn>
                <a:cxn ang="0">
                  <a:pos x="T2" y="T3"/>
                </a:cxn>
                <a:cxn ang="0">
                  <a:pos x="T4" y="T5"/>
                </a:cxn>
              </a:cxnLst>
              <a:rect l="0" t="0" r="r" b="b"/>
              <a:pathLst>
                <a:path w="119" h="60">
                  <a:moveTo>
                    <a:pt x="0" y="0"/>
                  </a:moveTo>
                  <a:lnTo>
                    <a:pt x="40" y="0"/>
                  </a:lnTo>
                  <a:lnTo>
                    <a:pt x="118" y="59"/>
                  </a:lnTo>
                </a:path>
              </a:pathLst>
            </a:custGeom>
            <a:noFill/>
            <a:ln w="76200" cap="flat">
              <a:solidFill>
                <a:schemeClr val="bg1">
                  <a:lumMod val="9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16" name="Line 11">
              <a:extLst>
                <a:ext uri="{FF2B5EF4-FFF2-40B4-BE49-F238E27FC236}">
                  <a16:creationId xmlns:a16="http://schemas.microsoft.com/office/drawing/2014/main" id="{0AABD21A-3BD8-5C25-1A5D-D7CDF9A6BB8A}"/>
                </a:ext>
              </a:extLst>
            </p:cNvPr>
            <p:cNvSpPr>
              <a:spLocks noChangeShapeType="1"/>
            </p:cNvSpPr>
            <p:nvPr/>
          </p:nvSpPr>
          <p:spPr bwMode="auto">
            <a:xfrm>
              <a:off x="3931715" y="2617412"/>
              <a:ext cx="41364" cy="4136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17" name="Line 12">
              <a:extLst>
                <a:ext uri="{FF2B5EF4-FFF2-40B4-BE49-F238E27FC236}">
                  <a16:creationId xmlns:a16="http://schemas.microsoft.com/office/drawing/2014/main" id="{3105EDB0-63D9-5504-FB2B-329F77FF0BD4}"/>
                </a:ext>
              </a:extLst>
            </p:cNvPr>
            <p:cNvSpPr>
              <a:spLocks noChangeShapeType="1"/>
            </p:cNvSpPr>
            <p:nvPr/>
          </p:nvSpPr>
          <p:spPr bwMode="auto">
            <a:xfrm>
              <a:off x="4016323" y="2692619"/>
              <a:ext cx="33844" cy="4136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18" name="Line 13">
              <a:extLst>
                <a:ext uri="{FF2B5EF4-FFF2-40B4-BE49-F238E27FC236}">
                  <a16:creationId xmlns:a16="http://schemas.microsoft.com/office/drawing/2014/main" id="{7233C584-4150-60AA-7F78-9C0F530053D2}"/>
                </a:ext>
              </a:extLst>
            </p:cNvPr>
            <p:cNvSpPr>
              <a:spLocks noChangeShapeType="1"/>
            </p:cNvSpPr>
            <p:nvPr/>
          </p:nvSpPr>
          <p:spPr bwMode="auto">
            <a:xfrm>
              <a:off x="4091531" y="2777227"/>
              <a:ext cx="33844" cy="4136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19" name="Line 14">
              <a:extLst>
                <a:ext uri="{FF2B5EF4-FFF2-40B4-BE49-F238E27FC236}">
                  <a16:creationId xmlns:a16="http://schemas.microsoft.com/office/drawing/2014/main" id="{EF6185E1-706C-0E2B-A29B-9BA8DB1C87BD}"/>
                </a:ext>
              </a:extLst>
            </p:cNvPr>
            <p:cNvSpPr>
              <a:spLocks noChangeShapeType="1"/>
            </p:cNvSpPr>
            <p:nvPr/>
          </p:nvSpPr>
          <p:spPr bwMode="auto">
            <a:xfrm>
              <a:off x="4166739" y="2859956"/>
              <a:ext cx="41364" cy="3384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20" name="Line 15">
              <a:extLst>
                <a:ext uri="{FF2B5EF4-FFF2-40B4-BE49-F238E27FC236}">
                  <a16:creationId xmlns:a16="http://schemas.microsoft.com/office/drawing/2014/main" id="{49CEEF1C-AEBC-6012-C296-AEA919131A06}"/>
                </a:ext>
              </a:extLst>
            </p:cNvPr>
            <p:cNvSpPr>
              <a:spLocks noChangeShapeType="1"/>
            </p:cNvSpPr>
            <p:nvPr/>
          </p:nvSpPr>
          <p:spPr bwMode="auto">
            <a:xfrm>
              <a:off x="4241946" y="2935163"/>
              <a:ext cx="41364" cy="4136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21" name="Line 16">
              <a:extLst>
                <a:ext uri="{FF2B5EF4-FFF2-40B4-BE49-F238E27FC236}">
                  <a16:creationId xmlns:a16="http://schemas.microsoft.com/office/drawing/2014/main" id="{07CF5CA3-3367-0B0F-5CB9-9D4A072EEF82}"/>
                </a:ext>
              </a:extLst>
            </p:cNvPr>
            <p:cNvSpPr>
              <a:spLocks noChangeShapeType="1"/>
            </p:cNvSpPr>
            <p:nvPr/>
          </p:nvSpPr>
          <p:spPr bwMode="auto">
            <a:xfrm>
              <a:off x="4324675" y="3019773"/>
              <a:ext cx="33844" cy="4136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22" name="Line 17">
              <a:extLst>
                <a:ext uri="{FF2B5EF4-FFF2-40B4-BE49-F238E27FC236}">
                  <a16:creationId xmlns:a16="http://schemas.microsoft.com/office/drawing/2014/main" id="{023F75F2-C632-051C-450E-25B6581B49E0}"/>
                </a:ext>
              </a:extLst>
            </p:cNvPr>
            <p:cNvSpPr>
              <a:spLocks noChangeShapeType="1"/>
            </p:cNvSpPr>
            <p:nvPr/>
          </p:nvSpPr>
          <p:spPr bwMode="auto">
            <a:xfrm>
              <a:off x="4399882" y="3094980"/>
              <a:ext cx="33844" cy="4136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23" name="Line 18">
              <a:extLst>
                <a:ext uri="{FF2B5EF4-FFF2-40B4-BE49-F238E27FC236}">
                  <a16:creationId xmlns:a16="http://schemas.microsoft.com/office/drawing/2014/main" id="{7D04950E-B660-62E8-8B82-0F6FFFCAE8D5}"/>
                </a:ext>
              </a:extLst>
            </p:cNvPr>
            <p:cNvSpPr>
              <a:spLocks noChangeShapeType="1"/>
            </p:cNvSpPr>
            <p:nvPr/>
          </p:nvSpPr>
          <p:spPr bwMode="auto">
            <a:xfrm>
              <a:off x="4475090" y="3177709"/>
              <a:ext cx="41364" cy="4136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24" name="Freeform 19">
              <a:extLst>
                <a:ext uri="{FF2B5EF4-FFF2-40B4-BE49-F238E27FC236}">
                  <a16:creationId xmlns:a16="http://schemas.microsoft.com/office/drawing/2014/main" id="{5B577E99-CAA0-553A-1467-394F01FA452E}"/>
                </a:ext>
              </a:extLst>
            </p:cNvPr>
            <p:cNvSpPr>
              <a:spLocks noChangeArrowheads="1"/>
            </p:cNvSpPr>
            <p:nvPr/>
          </p:nvSpPr>
          <p:spPr bwMode="auto">
            <a:xfrm>
              <a:off x="4550298" y="3260437"/>
              <a:ext cx="41364" cy="33844"/>
            </a:xfrm>
            <a:custGeom>
              <a:avLst/>
              <a:gdLst>
                <a:gd name="T0" fmla="*/ 0 w 98"/>
                <a:gd name="T1" fmla="*/ 0 h 80"/>
                <a:gd name="T2" fmla="*/ 97 w 98"/>
                <a:gd name="T3" fmla="*/ 79 h 80"/>
                <a:gd name="T4" fmla="*/ 97 w 98"/>
                <a:gd name="T5" fmla="*/ 79 h 80"/>
              </a:gdLst>
              <a:ahLst/>
              <a:cxnLst>
                <a:cxn ang="0">
                  <a:pos x="T0" y="T1"/>
                </a:cxn>
                <a:cxn ang="0">
                  <a:pos x="T2" y="T3"/>
                </a:cxn>
                <a:cxn ang="0">
                  <a:pos x="T4" y="T5"/>
                </a:cxn>
              </a:cxnLst>
              <a:rect l="0" t="0" r="r" b="b"/>
              <a:pathLst>
                <a:path w="98" h="80">
                  <a:moveTo>
                    <a:pt x="0" y="0"/>
                  </a:moveTo>
                  <a:lnTo>
                    <a:pt x="97" y="79"/>
                  </a:lnTo>
                  <a:lnTo>
                    <a:pt x="97" y="79"/>
                  </a:lnTo>
                </a:path>
              </a:pathLst>
            </a:custGeom>
            <a:noFill/>
            <a:ln w="21240" cap="flat">
              <a:solidFill>
                <a:schemeClr val="bg1">
                  <a:lumMod val="9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25" name="Line 20">
              <a:extLst>
                <a:ext uri="{FF2B5EF4-FFF2-40B4-BE49-F238E27FC236}">
                  <a16:creationId xmlns:a16="http://schemas.microsoft.com/office/drawing/2014/main" id="{BC822A2E-7BA8-7055-2246-7723CB1B3477}"/>
                </a:ext>
              </a:extLst>
            </p:cNvPr>
            <p:cNvSpPr>
              <a:spLocks noChangeShapeType="1"/>
            </p:cNvSpPr>
            <p:nvPr/>
          </p:nvSpPr>
          <p:spPr bwMode="auto">
            <a:xfrm>
              <a:off x="4591662" y="3352566"/>
              <a:ext cx="1881" cy="58287"/>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26" name="Line 21">
              <a:extLst>
                <a:ext uri="{FF2B5EF4-FFF2-40B4-BE49-F238E27FC236}">
                  <a16:creationId xmlns:a16="http://schemas.microsoft.com/office/drawing/2014/main" id="{095BC7B8-0E00-A0BC-8D8C-878704A44236}"/>
                </a:ext>
              </a:extLst>
            </p:cNvPr>
            <p:cNvSpPr>
              <a:spLocks noChangeShapeType="1"/>
            </p:cNvSpPr>
            <p:nvPr/>
          </p:nvSpPr>
          <p:spPr bwMode="auto">
            <a:xfrm>
              <a:off x="4591662" y="3461617"/>
              <a:ext cx="1881" cy="58287"/>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27" name="Line 22">
              <a:extLst>
                <a:ext uri="{FF2B5EF4-FFF2-40B4-BE49-F238E27FC236}">
                  <a16:creationId xmlns:a16="http://schemas.microsoft.com/office/drawing/2014/main" id="{76296366-7564-F1A1-9A26-2504D257A3D5}"/>
                </a:ext>
              </a:extLst>
            </p:cNvPr>
            <p:cNvSpPr>
              <a:spLocks noChangeShapeType="1"/>
            </p:cNvSpPr>
            <p:nvPr/>
          </p:nvSpPr>
          <p:spPr bwMode="auto">
            <a:xfrm>
              <a:off x="4591662" y="3578189"/>
              <a:ext cx="1881" cy="50766"/>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28" name="Line 23">
              <a:extLst>
                <a:ext uri="{FF2B5EF4-FFF2-40B4-BE49-F238E27FC236}">
                  <a16:creationId xmlns:a16="http://schemas.microsoft.com/office/drawing/2014/main" id="{067A23CA-100E-31B9-F687-CF158E834946}"/>
                </a:ext>
              </a:extLst>
            </p:cNvPr>
            <p:cNvSpPr>
              <a:spLocks noChangeShapeType="1"/>
            </p:cNvSpPr>
            <p:nvPr/>
          </p:nvSpPr>
          <p:spPr bwMode="auto">
            <a:xfrm>
              <a:off x="4591662" y="3687240"/>
              <a:ext cx="1881" cy="58287"/>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29" name="Line 24">
              <a:extLst>
                <a:ext uri="{FF2B5EF4-FFF2-40B4-BE49-F238E27FC236}">
                  <a16:creationId xmlns:a16="http://schemas.microsoft.com/office/drawing/2014/main" id="{2762C055-FDD3-0E78-417E-3A9D12777F52}"/>
                </a:ext>
              </a:extLst>
            </p:cNvPr>
            <p:cNvSpPr>
              <a:spLocks noChangeShapeType="1"/>
            </p:cNvSpPr>
            <p:nvPr/>
          </p:nvSpPr>
          <p:spPr bwMode="auto">
            <a:xfrm>
              <a:off x="4591662" y="3796291"/>
              <a:ext cx="1881" cy="58287"/>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30" name="Line 25">
              <a:extLst>
                <a:ext uri="{FF2B5EF4-FFF2-40B4-BE49-F238E27FC236}">
                  <a16:creationId xmlns:a16="http://schemas.microsoft.com/office/drawing/2014/main" id="{669F929F-F7E4-74D7-3E51-94E446A0F80D}"/>
                </a:ext>
              </a:extLst>
            </p:cNvPr>
            <p:cNvSpPr>
              <a:spLocks noChangeShapeType="1"/>
            </p:cNvSpPr>
            <p:nvPr/>
          </p:nvSpPr>
          <p:spPr bwMode="auto">
            <a:xfrm>
              <a:off x="4591662" y="3912863"/>
              <a:ext cx="1881" cy="50766"/>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31" name="Line 26">
              <a:extLst>
                <a:ext uri="{FF2B5EF4-FFF2-40B4-BE49-F238E27FC236}">
                  <a16:creationId xmlns:a16="http://schemas.microsoft.com/office/drawing/2014/main" id="{031FFF66-FFD2-82AD-7C22-894E45F553C4}"/>
                </a:ext>
              </a:extLst>
            </p:cNvPr>
            <p:cNvSpPr>
              <a:spLocks noChangeShapeType="1"/>
            </p:cNvSpPr>
            <p:nvPr/>
          </p:nvSpPr>
          <p:spPr bwMode="auto">
            <a:xfrm>
              <a:off x="4591662" y="4021914"/>
              <a:ext cx="1881" cy="58287"/>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32" name="Line 27">
              <a:extLst>
                <a:ext uri="{FF2B5EF4-FFF2-40B4-BE49-F238E27FC236}">
                  <a16:creationId xmlns:a16="http://schemas.microsoft.com/office/drawing/2014/main" id="{ACA2F89A-E0FC-944B-BF5E-B3C2BC89BE80}"/>
                </a:ext>
              </a:extLst>
            </p:cNvPr>
            <p:cNvSpPr>
              <a:spLocks noChangeShapeType="1"/>
            </p:cNvSpPr>
            <p:nvPr/>
          </p:nvSpPr>
          <p:spPr bwMode="auto">
            <a:xfrm>
              <a:off x="4591662" y="4129086"/>
              <a:ext cx="1881" cy="58286"/>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33" name="Line 28">
              <a:extLst>
                <a:ext uri="{FF2B5EF4-FFF2-40B4-BE49-F238E27FC236}">
                  <a16:creationId xmlns:a16="http://schemas.microsoft.com/office/drawing/2014/main" id="{55B705FB-9E1B-0A89-83C5-709D27BFD427}"/>
                </a:ext>
              </a:extLst>
            </p:cNvPr>
            <p:cNvSpPr>
              <a:spLocks noChangeShapeType="1"/>
            </p:cNvSpPr>
            <p:nvPr/>
          </p:nvSpPr>
          <p:spPr bwMode="auto">
            <a:xfrm>
              <a:off x="4591662" y="4245658"/>
              <a:ext cx="1881" cy="50765"/>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34" name="Line 29">
              <a:extLst>
                <a:ext uri="{FF2B5EF4-FFF2-40B4-BE49-F238E27FC236}">
                  <a16:creationId xmlns:a16="http://schemas.microsoft.com/office/drawing/2014/main" id="{7212ADB6-19D6-14A9-D466-F454282853FB}"/>
                </a:ext>
              </a:extLst>
            </p:cNvPr>
            <p:cNvSpPr>
              <a:spLocks noChangeShapeType="1"/>
            </p:cNvSpPr>
            <p:nvPr/>
          </p:nvSpPr>
          <p:spPr bwMode="auto">
            <a:xfrm>
              <a:off x="4591662" y="4354709"/>
              <a:ext cx="1881" cy="58286"/>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35" name="Line 30">
              <a:extLst>
                <a:ext uri="{FF2B5EF4-FFF2-40B4-BE49-F238E27FC236}">
                  <a16:creationId xmlns:a16="http://schemas.microsoft.com/office/drawing/2014/main" id="{346B5ADF-8363-8419-EAD3-70C94B7C7AB0}"/>
                </a:ext>
              </a:extLst>
            </p:cNvPr>
            <p:cNvSpPr>
              <a:spLocks noChangeShapeType="1"/>
            </p:cNvSpPr>
            <p:nvPr/>
          </p:nvSpPr>
          <p:spPr bwMode="auto">
            <a:xfrm>
              <a:off x="4591662" y="4463760"/>
              <a:ext cx="1881" cy="58286"/>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36" name="Line 31">
              <a:extLst>
                <a:ext uri="{FF2B5EF4-FFF2-40B4-BE49-F238E27FC236}">
                  <a16:creationId xmlns:a16="http://schemas.microsoft.com/office/drawing/2014/main" id="{EE6B555C-2C00-9163-59AB-36BF546CA121}"/>
                </a:ext>
              </a:extLst>
            </p:cNvPr>
            <p:cNvSpPr>
              <a:spLocks noChangeShapeType="1"/>
            </p:cNvSpPr>
            <p:nvPr/>
          </p:nvSpPr>
          <p:spPr bwMode="auto">
            <a:xfrm>
              <a:off x="4591662" y="4580332"/>
              <a:ext cx="1881" cy="50765"/>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37" name="Line 32">
              <a:extLst>
                <a:ext uri="{FF2B5EF4-FFF2-40B4-BE49-F238E27FC236}">
                  <a16:creationId xmlns:a16="http://schemas.microsoft.com/office/drawing/2014/main" id="{BF3D61AA-17A2-C515-1341-77A4984C469C}"/>
                </a:ext>
              </a:extLst>
            </p:cNvPr>
            <p:cNvSpPr>
              <a:spLocks noChangeShapeType="1"/>
            </p:cNvSpPr>
            <p:nvPr/>
          </p:nvSpPr>
          <p:spPr bwMode="auto">
            <a:xfrm>
              <a:off x="4591662" y="4689383"/>
              <a:ext cx="1881" cy="58286"/>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38" name="Line 33">
              <a:extLst>
                <a:ext uri="{FF2B5EF4-FFF2-40B4-BE49-F238E27FC236}">
                  <a16:creationId xmlns:a16="http://schemas.microsoft.com/office/drawing/2014/main" id="{35382CAA-4613-405B-49FD-B726BED302E0}"/>
                </a:ext>
              </a:extLst>
            </p:cNvPr>
            <p:cNvSpPr>
              <a:spLocks noChangeShapeType="1"/>
            </p:cNvSpPr>
            <p:nvPr/>
          </p:nvSpPr>
          <p:spPr bwMode="auto">
            <a:xfrm>
              <a:off x="4591662" y="4798434"/>
              <a:ext cx="1881" cy="58286"/>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39" name="Line 34">
              <a:extLst>
                <a:ext uri="{FF2B5EF4-FFF2-40B4-BE49-F238E27FC236}">
                  <a16:creationId xmlns:a16="http://schemas.microsoft.com/office/drawing/2014/main" id="{DF115FEE-AD12-28CF-AA99-75911D47EE71}"/>
                </a:ext>
              </a:extLst>
            </p:cNvPr>
            <p:cNvSpPr>
              <a:spLocks noChangeShapeType="1"/>
            </p:cNvSpPr>
            <p:nvPr/>
          </p:nvSpPr>
          <p:spPr bwMode="auto">
            <a:xfrm>
              <a:off x="4591662" y="4915006"/>
              <a:ext cx="1881" cy="50765"/>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40" name="Line 35">
              <a:extLst>
                <a:ext uri="{FF2B5EF4-FFF2-40B4-BE49-F238E27FC236}">
                  <a16:creationId xmlns:a16="http://schemas.microsoft.com/office/drawing/2014/main" id="{1C04F597-809F-51CF-BB0D-A01B7858BE54}"/>
                </a:ext>
              </a:extLst>
            </p:cNvPr>
            <p:cNvSpPr>
              <a:spLocks noChangeShapeType="1"/>
            </p:cNvSpPr>
            <p:nvPr/>
          </p:nvSpPr>
          <p:spPr bwMode="auto">
            <a:xfrm>
              <a:off x="4591662" y="5024057"/>
              <a:ext cx="1881" cy="58286"/>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41" name="Freeform 36">
              <a:extLst>
                <a:ext uri="{FF2B5EF4-FFF2-40B4-BE49-F238E27FC236}">
                  <a16:creationId xmlns:a16="http://schemas.microsoft.com/office/drawing/2014/main" id="{3A4F2859-AA0C-120E-0587-369ED3CFF878}"/>
                </a:ext>
              </a:extLst>
            </p:cNvPr>
            <p:cNvSpPr>
              <a:spLocks noChangeArrowheads="1"/>
            </p:cNvSpPr>
            <p:nvPr/>
          </p:nvSpPr>
          <p:spPr bwMode="auto">
            <a:xfrm>
              <a:off x="4559699" y="5131227"/>
              <a:ext cx="33844" cy="50766"/>
            </a:xfrm>
            <a:custGeom>
              <a:avLst/>
              <a:gdLst>
                <a:gd name="T0" fmla="*/ 78 w 79"/>
                <a:gd name="T1" fmla="*/ 0 h 119"/>
                <a:gd name="T2" fmla="*/ 78 w 79"/>
                <a:gd name="T3" fmla="*/ 19 h 119"/>
                <a:gd name="T4" fmla="*/ 0 w 79"/>
                <a:gd name="T5" fmla="*/ 118 h 119"/>
              </a:gdLst>
              <a:ahLst/>
              <a:cxnLst>
                <a:cxn ang="0">
                  <a:pos x="T0" y="T1"/>
                </a:cxn>
                <a:cxn ang="0">
                  <a:pos x="T2" y="T3"/>
                </a:cxn>
                <a:cxn ang="0">
                  <a:pos x="T4" y="T5"/>
                </a:cxn>
              </a:cxnLst>
              <a:rect l="0" t="0" r="r" b="b"/>
              <a:pathLst>
                <a:path w="79" h="119">
                  <a:moveTo>
                    <a:pt x="78" y="0"/>
                  </a:moveTo>
                  <a:lnTo>
                    <a:pt x="78" y="19"/>
                  </a:lnTo>
                  <a:lnTo>
                    <a:pt x="0" y="118"/>
                  </a:lnTo>
                </a:path>
              </a:pathLst>
            </a:custGeom>
            <a:noFill/>
            <a:ln w="76200" cap="flat">
              <a:solidFill>
                <a:schemeClr val="bg1">
                  <a:lumMod val="9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42" name="Line 37">
              <a:extLst>
                <a:ext uri="{FF2B5EF4-FFF2-40B4-BE49-F238E27FC236}">
                  <a16:creationId xmlns:a16="http://schemas.microsoft.com/office/drawing/2014/main" id="{98C136D0-A3F2-348F-897F-55FBD4DE8CEB}"/>
                </a:ext>
              </a:extLst>
            </p:cNvPr>
            <p:cNvSpPr>
              <a:spLocks noChangeShapeType="1"/>
            </p:cNvSpPr>
            <p:nvPr/>
          </p:nvSpPr>
          <p:spPr bwMode="auto">
            <a:xfrm flipH="1">
              <a:off x="4480731" y="5215836"/>
              <a:ext cx="37604" cy="4136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43" name="Line 38">
              <a:extLst>
                <a:ext uri="{FF2B5EF4-FFF2-40B4-BE49-F238E27FC236}">
                  <a16:creationId xmlns:a16="http://schemas.microsoft.com/office/drawing/2014/main" id="{A2B56C7B-986C-4E6D-D620-127F987667E1}"/>
                </a:ext>
              </a:extLst>
            </p:cNvPr>
            <p:cNvSpPr>
              <a:spLocks noChangeShapeType="1"/>
            </p:cNvSpPr>
            <p:nvPr/>
          </p:nvSpPr>
          <p:spPr bwMode="auto">
            <a:xfrm flipH="1">
              <a:off x="4398003" y="5298565"/>
              <a:ext cx="45125" cy="4136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44" name="Line 39">
              <a:extLst>
                <a:ext uri="{FF2B5EF4-FFF2-40B4-BE49-F238E27FC236}">
                  <a16:creationId xmlns:a16="http://schemas.microsoft.com/office/drawing/2014/main" id="{DA9C51D7-A277-3D5D-AA21-3E0594E53D24}"/>
                </a:ext>
              </a:extLst>
            </p:cNvPr>
            <p:cNvSpPr>
              <a:spLocks noChangeShapeType="1"/>
            </p:cNvSpPr>
            <p:nvPr/>
          </p:nvSpPr>
          <p:spPr bwMode="auto">
            <a:xfrm flipH="1">
              <a:off x="4322795" y="5373772"/>
              <a:ext cx="45125" cy="4136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45" name="Line 40">
              <a:extLst>
                <a:ext uri="{FF2B5EF4-FFF2-40B4-BE49-F238E27FC236}">
                  <a16:creationId xmlns:a16="http://schemas.microsoft.com/office/drawing/2014/main" id="{524CCD4A-A5B4-9F9E-9B05-9D3E65320231}"/>
                </a:ext>
              </a:extLst>
            </p:cNvPr>
            <p:cNvSpPr>
              <a:spLocks noChangeShapeType="1"/>
            </p:cNvSpPr>
            <p:nvPr/>
          </p:nvSpPr>
          <p:spPr bwMode="auto">
            <a:xfrm flipH="1">
              <a:off x="4247587" y="5458380"/>
              <a:ext cx="37604" cy="4136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46" name="Line 41">
              <a:extLst>
                <a:ext uri="{FF2B5EF4-FFF2-40B4-BE49-F238E27FC236}">
                  <a16:creationId xmlns:a16="http://schemas.microsoft.com/office/drawing/2014/main" id="{44BCB185-F98A-398A-1723-0B61EA279FAF}"/>
                </a:ext>
              </a:extLst>
            </p:cNvPr>
            <p:cNvSpPr>
              <a:spLocks noChangeShapeType="1"/>
            </p:cNvSpPr>
            <p:nvPr/>
          </p:nvSpPr>
          <p:spPr bwMode="auto">
            <a:xfrm flipH="1">
              <a:off x="4164859" y="5531709"/>
              <a:ext cx="45125" cy="4136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47" name="Line 42">
              <a:extLst>
                <a:ext uri="{FF2B5EF4-FFF2-40B4-BE49-F238E27FC236}">
                  <a16:creationId xmlns:a16="http://schemas.microsoft.com/office/drawing/2014/main" id="{C56E8578-62BA-9B64-4F71-C03BE6D03999}"/>
                </a:ext>
              </a:extLst>
            </p:cNvPr>
            <p:cNvSpPr>
              <a:spLocks noChangeShapeType="1"/>
            </p:cNvSpPr>
            <p:nvPr/>
          </p:nvSpPr>
          <p:spPr bwMode="auto">
            <a:xfrm flipH="1">
              <a:off x="4089651" y="5616317"/>
              <a:ext cx="45125" cy="4136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48" name="Line 43">
              <a:extLst>
                <a:ext uri="{FF2B5EF4-FFF2-40B4-BE49-F238E27FC236}">
                  <a16:creationId xmlns:a16="http://schemas.microsoft.com/office/drawing/2014/main" id="{C9C8A4F0-A23D-63C1-36B1-0290D40BAF4A}"/>
                </a:ext>
              </a:extLst>
            </p:cNvPr>
            <p:cNvSpPr>
              <a:spLocks noChangeShapeType="1"/>
            </p:cNvSpPr>
            <p:nvPr/>
          </p:nvSpPr>
          <p:spPr bwMode="auto">
            <a:xfrm flipH="1">
              <a:off x="4014444" y="5699045"/>
              <a:ext cx="37604" cy="3384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49" name="Line 44">
              <a:extLst>
                <a:ext uri="{FF2B5EF4-FFF2-40B4-BE49-F238E27FC236}">
                  <a16:creationId xmlns:a16="http://schemas.microsoft.com/office/drawing/2014/main" id="{9ADB81C7-EF91-A8AE-694E-54E5A560AA45}"/>
                </a:ext>
              </a:extLst>
            </p:cNvPr>
            <p:cNvSpPr>
              <a:spLocks noChangeShapeType="1"/>
            </p:cNvSpPr>
            <p:nvPr/>
          </p:nvSpPr>
          <p:spPr bwMode="auto">
            <a:xfrm flipH="1">
              <a:off x="3931715" y="5774253"/>
              <a:ext cx="45125" cy="4136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50" name="Line 45">
              <a:extLst>
                <a:ext uri="{FF2B5EF4-FFF2-40B4-BE49-F238E27FC236}">
                  <a16:creationId xmlns:a16="http://schemas.microsoft.com/office/drawing/2014/main" id="{52E7E234-DC07-98F8-DEC6-6BF215CC7AE8}"/>
                </a:ext>
              </a:extLst>
            </p:cNvPr>
            <p:cNvSpPr>
              <a:spLocks noChangeShapeType="1"/>
            </p:cNvSpPr>
            <p:nvPr/>
          </p:nvSpPr>
          <p:spPr bwMode="auto">
            <a:xfrm flipH="1">
              <a:off x="3856507" y="5858862"/>
              <a:ext cx="45125" cy="33844"/>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dirty="0">
                <a:ln>
                  <a:noFill/>
                </a:ln>
                <a:solidFill>
                  <a:srgbClr val="000000"/>
                </a:solidFill>
                <a:effectLst/>
                <a:uLnTx/>
                <a:uFillTx/>
                <a:latin typeface="Tahoma"/>
                <a:ea typeface="+mn-ea"/>
                <a:cs typeface="+mn-cs"/>
              </a:endParaRPr>
            </a:p>
          </p:txBody>
        </p:sp>
        <p:sp>
          <p:nvSpPr>
            <p:cNvPr id="51" name="Line 46">
              <a:extLst>
                <a:ext uri="{FF2B5EF4-FFF2-40B4-BE49-F238E27FC236}">
                  <a16:creationId xmlns:a16="http://schemas.microsoft.com/office/drawing/2014/main" id="{60219A36-BED5-8134-3C84-4B8720C8D597}"/>
                </a:ext>
              </a:extLst>
            </p:cNvPr>
            <p:cNvSpPr>
              <a:spLocks noChangeShapeType="1"/>
            </p:cNvSpPr>
            <p:nvPr/>
          </p:nvSpPr>
          <p:spPr bwMode="auto">
            <a:xfrm flipH="1">
              <a:off x="3747456" y="5900226"/>
              <a:ext cx="62046" cy="1880"/>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52" name="Line 47">
              <a:extLst>
                <a:ext uri="{FF2B5EF4-FFF2-40B4-BE49-F238E27FC236}">
                  <a16:creationId xmlns:a16="http://schemas.microsoft.com/office/drawing/2014/main" id="{99678CFD-D4F4-F215-F717-3E637767A47D}"/>
                </a:ext>
              </a:extLst>
            </p:cNvPr>
            <p:cNvSpPr>
              <a:spLocks noChangeShapeType="1"/>
            </p:cNvSpPr>
            <p:nvPr/>
          </p:nvSpPr>
          <p:spPr bwMode="auto">
            <a:xfrm flipH="1">
              <a:off x="3638405" y="5900226"/>
              <a:ext cx="54525" cy="9401"/>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53" name="Line 48">
              <a:extLst>
                <a:ext uri="{FF2B5EF4-FFF2-40B4-BE49-F238E27FC236}">
                  <a16:creationId xmlns:a16="http://schemas.microsoft.com/office/drawing/2014/main" id="{1EC44762-843E-1024-C947-06432F63553D}"/>
                </a:ext>
              </a:extLst>
            </p:cNvPr>
            <p:cNvSpPr>
              <a:spLocks noChangeShapeType="1"/>
            </p:cNvSpPr>
            <p:nvPr/>
          </p:nvSpPr>
          <p:spPr bwMode="auto">
            <a:xfrm flipH="1">
              <a:off x="3521833" y="5907747"/>
              <a:ext cx="62046" cy="1880"/>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54" name="Line 49">
              <a:extLst>
                <a:ext uri="{FF2B5EF4-FFF2-40B4-BE49-F238E27FC236}">
                  <a16:creationId xmlns:a16="http://schemas.microsoft.com/office/drawing/2014/main" id="{8960715E-9EDA-CC54-08A3-952BFC99B2E9}"/>
                </a:ext>
              </a:extLst>
            </p:cNvPr>
            <p:cNvSpPr>
              <a:spLocks noChangeShapeType="1"/>
            </p:cNvSpPr>
            <p:nvPr/>
          </p:nvSpPr>
          <p:spPr bwMode="auto">
            <a:xfrm flipH="1">
              <a:off x="3412782" y="5907747"/>
              <a:ext cx="62046" cy="9401"/>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55" name="Line 50">
              <a:extLst>
                <a:ext uri="{FF2B5EF4-FFF2-40B4-BE49-F238E27FC236}">
                  <a16:creationId xmlns:a16="http://schemas.microsoft.com/office/drawing/2014/main" id="{01BC7201-89AF-38CA-F749-86A123781DD6}"/>
                </a:ext>
              </a:extLst>
            </p:cNvPr>
            <p:cNvSpPr>
              <a:spLocks noChangeShapeType="1"/>
            </p:cNvSpPr>
            <p:nvPr/>
          </p:nvSpPr>
          <p:spPr bwMode="auto">
            <a:xfrm flipH="1">
              <a:off x="3303731" y="5917147"/>
              <a:ext cx="54525" cy="1881"/>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56" name="Line 51">
              <a:extLst>
                <a:ext uri="{FF2B5EF4-FFF2-40B4-BE49-F238E27FC236}">
                  <a16:creationId xmlns:a16="http://schemas.microsoft.com/office/drawing/2014/main" id="{B3C9C20B-0CB5-2EE5-F7D7-8CAA66AA03DD}"/>
                </a:ext>
              </a:extLst>
            </p:cNvPr>
            <p:cNvSpPr>
              <a:spLocks noChangeShapeType="1"/>
            </p:cNvSpPr>
            <p:nvPr/>
          </p:nvSpPr>
          <p:spPr bwMode="auto">
            <a:xfrm flipH="1">
              <a:off x="3187159" y="5917147"/>
              <a:ext cx="62046" cy="1881"/>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57" name="Line 52">
              <a:extLst>
                <a:ext uri="{FF2B5EF4-FFF2-40B4-BE49-F238E27FC236}">
                  <a16:creationId xmlns:a16="http://schemas.microsoft.com/office/drawing/2014/main" id="{DA9EF65D-455A-6C32-51AF-D7D6C440D0BC}"/>
                </a:ext>
              </a:extLst>
            </p:cNvPr>
            <p:cNvSpPr>
              <a:spLocks noChangeShapeType="1"/>
            </p:cNvSpPr>
            <p:nvPr/>
          </p:nvSpPr>
          <p:spPr bwMode="auto">
            <a:xfrm flipH="1">
              <a:off x="3078108" y="5924668"/>
              <a:ext cx="62046" cy="1881"/>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58" name="Line 53">
              <a:extLst>
                <a:ext uri="{FF2B5EF4-FFF2-40B4-BE49-F238E27FC236}">
                  <a16:creationId xmlns:a16="http://schemas.microsoft.com/office/drawing/2014/main" id="{A459D7D6-B4A0-1CCB-7EE1-D6305064222D}"/>
                </a:ext>
              </a:extLst>
            </p:cNvPr>
            <p:cNvSpPr>
              <a:spLocks noChangeShapeType="1"/>
            </p:cNvSpPr>
            <p:nvPr/>
          </p:nvSpPr>
          <p:spPr bwMode="auto">
            <a:xfrm flipH="1">
              <a:off x="2969057" y="5924668"/>
              <a:ext cx="54525" cy="1881"/>
            </a:xfrm>
            <a:prstGeom prst="line">
              <a:avLst/>
            </a:prstGeom>
            <a:noFill/>
            <a:ln w="76200" cap="flat">
              <a:solidFill>
                <a:schemeClr val="bg1">
                  <a:lumMod val="9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59" name="Freeform 54">
              <a:extLst>
                <a:ext uri="{FF2B5EF4-FFF2-40B4-BE49-F238E27FC236}">
                  <a16:creationId xmlns:a16="http://schemas.microsoft.com/office/drawing/2014/main" id="{D53071A0-4FDB-95F3-D5AB-743FAF2EE12D}"/>
                </a:ext>
              </a:extLst>
            </p:cNvPr>
            <p:cNvSpPr>
              <a:spLocks noChangeArrowheads="1"/>
            </p:cNvSpPr>
            <p:nvPr/>
          </p:nvSpPr>
          <p:spPr bwMode="auto">
            <a:xfrm>
              <a:off x="2880687" y="5924668"/>
              <a:ext cx="26323" cy="1881"/>
            </a:xfrm>
            <a:custGeom>
              <a:avLst/>
              <a:gdLst>
                <a:gd name="T0" fmla="*/ 59 w 60"/>
                <a:gd name="T1" fmla="*/ 0 h 1"/>
                <a:gd name="T2" fmla="*/ 59 w 60"/>
                <a:gd name="T3" fmla="*/ 0 h 1"/>
                <a:gd name="T4" fmla="*/ 0 w 60"/>
                <a:gd name="T5" fmla="*/ 0 h 1"/>
              </a:gdLst>
              <a:ahLst/>
              <a:cxnLst>
                <a:cxn ang="0">
                  <a:pos x="T0" y="T1"/>
                </a:cxn>
                <a:cxn ang="0">
                  <a:pos x="T2" y="T3"/>
                </a:cxn>
                <a:cxn ang="0">
                  <a:pos x="T4" y="T5"/>
                </a:cxn>
              </a:cxnLst>
              <a:rect l="0" t="0" r="r" b="b"/>
              <a:pathLst>
                <a:path w="60" h="1">
                  <a:moveTo>
                    <a:pt x="59" y="0"/>
                  </a:moveTo>
                  <a:lnTo>
                    <a:pt x="59" y="0"/>
                  </a:lnTo>
                  <a:cubicBezTo>
                    <a:pt x="39" y="0"/>
                    <a:pt x="19" y="0"/>
                    <a:pt x="0" y="0"/>
                  </a:cubicBezTo>
                </a:path>
              </a:pathLst>
            </a:custGeom>
            <a:noFill/>
            <a:ln w="21240" cap="flat">
              <a:solidFill>
                <a:srgbClr val="232323"/>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60" name="Freeform 55">
              <a:extLst>
                <a:ext uri="{FF2B5EF4-FFF2-40B4-BE49-F238E27FC236}">
                  <a16:creationId xmlns:a16="http://schemas.microsoft.com/office/drawing/2014/main" id="{BF272287-D9D6-0DFE-28B4-CD4CD642D12B}"/>
                </a:ext>
              </a:extLst>
            </p:cNvPr>
            <p:cNvSpPr>
              <a:spLocks noChangeArrowheads="1"/>
            </p:cNvSpPr>
            <p:nvPr/>
          </p:nvSpPr>
          <p:spPr bwMode="auto">
            <a:xfrm>
              <a:off x="2839323" y="2442553"/>
              <a:ext cx="116572" cy="116572"/>
            </a:xfrm>
            <a:custGeom>
              <a:avLst/>
              <a:gdLst>
                <a:gd name="T0" fmla="*/ 0 w 275"/>
                <a:gd name="T1" fmla="*/ 137 h 275"/>
                <a:gd name="T2" fmla="*/ 0 w 275"/>
                <a:gd name="T3" fmla="*/ 137 h 275"/>
                <a:gd name="T4" fmla="*/ 137 w 275"/>
                <a:gd name="T5" fmla="*/ 0 h 275"/>
                <a:gd name="T6" fmla="*/ 274 w 275"/>
                <a:gd name="T7" fmla="*/ 137 h 275"/>
                <a:gd name="T8" fmla="*/ 137 w 275"/>
                <a:gd name="T9" fmla="*/ 274 h 275"/>
                <a:gd name="T10" fmla="*/ 0 w 275"/>
                <a:gd name="T11" fmla="*/ 137 h 275"/>
              </a:gdLst>
              <a:ahLst/>
              <a:cxnLst>
                <a:cxn ang="0">
                  <a:pos x="T0" y="T1"/>
                </a:cxn>
                <a:cxn ang="0">
                  <a:pos x="T2" y="T3"/>
                </a:cxn>
                <a:cxn ang="0">
                  <a:pos x="T4" y="T5"/>
                </a:cxn>
                <a:cxn ang="0">
                  <a:pos x="T6" y="T7"/>
                </a:cxn>
                <a:cxn ang="0">
                  <a:pos x="T8" y="T9"/>
                </a:cxn>
                <a:cxn ang="0">
                  <a:pos x="T10" y="T11"/>
                </a:cxn>
              </a:cxnLst>
              <a:rect l="0" t="0" r="r" b="b"/>
              <a:pathLst>
                <a:path w="275" h="275">
                  <a:moveTo>
                    <a:pt x="0" y="137"/>
                  </a:moveTo>
                  <a:lnTo>
                    <a:pt x="0" y="137"/>
                  </a:lnTo>
                  <a:cubicBezTo>
                    <a:pt x="0" y="59"/>
                    <a:pt x="59" y="0"/>
                    <a:pt x="137" y="0"/>
                  </a:cubicBezTo>
                  <a:cubicBezTo>
                    <a:pt x="196" y="0"/>
                    <a:pt x="274" y="59"/>
                    <a:pt x="274" y="137"/>
                  </a:cubicBezTo>
                  <a:cubicBezTo>
                    <a:pt x="274" y="216"/>
                    <a:pt x="196" y="274"/>
                    <a:pt x="137" y="274"/>
                  </a:cubicBezTo>
                  <a:cubicBezTo>
                    <a:pt x="59" y="274"/>
                    <a:pt x="0" y="216"/>
                    <a:pt x="0" y="137"/>
                  </a:cubicBezTo>
                </a:path>
              </a:pathLst>
            </a:custGeom>
            <a:solidFill>
              <a:schemeClr val="bg1">
                <a:lumMod val="95000"/>
              </a:schemeClr>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61" name="Freeform 56">
              <a:extLst>
                <a:ext uri="{FF2B5EF4-FFF2-40B4-BE49-F238E27FC236}">
                  <a16:creationId xmlns:a16="http://schemas.microsoft.com/office/drawing/2014/main" id="{5B929218-86E6-125E-8EF9-A9DE4C87317B}"/>
                </a:ext>
              </a:extLst>
            </p:cNvPr>
            <p:cNvSpPr>
              <a:spLocks noChangeArrowheads="1"/>
            </p:cNvSpPr>
            <p:nvPr/>
          </p:nvSpPr>
          <p:spPr bwMode="auto">
            <a:xfrm>
              <a:off x="2839323" y="5858862"/>
              <a:ext cx="116572" cy="118452"/>
            </a:xfrm>
            <a:custGeom>
              <a:avLst/>
              <a:gdLst>
                <a:gd name="T0" fmla="*/ 0 w 275"/>
                <a:gd name="T1" fmla="*/ 138 h 276"/>
                <a:gd name="T2" fmla="*/ 0 w 275"/>
                <a:gd name="T3" fmla="*/ 138 h 276"/>
                <a:gd name="T4" fmla="*/ 137 w 275"/>
                <a:gd name="T5" fmla="*/ 0 h 276"/>
                <a:gd name="T6" fmla="*/ 274 w 275"/>
                <a:gd name="T7" fmla="*/ 138 h 276"/>
                <a:gd name="T8" fmla="*/ 137 w 275"/>
                <a:gd name="T9" fmla="*/ 275 h 276"/>
                <a:gd name="T10" fmla="*/ 0 w 275"/>
                <a:gd name="T11" fmla="*/ 138 h 276"/>
              </a:gdLst>
              <a:ahLst/>
              <a:cxnLst>
                <a:cxn ang="0">
                  <a:pos x="T0" y="T1"/>
                </a:cxn>
                <a:cxn ang="0">
                  <a:pos x="T2" y="T3"/>
                </a:cxn>
                <a:cxn ang="0">
                  <a:pos x="T4" y="T5"/>
                </a:cxn>
                <a:cxn ang="0">
                  <a:pos x="T6" y="T7"/>
                </a:cxn>
                <a:cxn ang="0">
                  <a:pos x="T8" y="T9"/>
                </a:cxn>
                <a:cxn ang="0">
                  <a:pos x="T10" y="T11"/>
                </a:cxn>
              </a:cxnLst>
              <a:rect l="0" t="0" r="r" b="b"/>
              <a:pathLst>
                <a:path w="275" h="276">
                  <a:moveTo>
                    <a:pt x="0" y="138"/>
                  </a:moveTo>
                  <a:lnTo>
                    <a:pt x="0" y="138"/>
                  </a:lnTo>
                  <a:cubicBezTo>
                    <a:pt x="0" y="59"/>
                    <a:pt x="59" y="0"/>
                    <a:pt x="137" y="0"/>
                  </a:cubicBezTo>
                  <a:cubicBezTo>
                    <a:pt x="196" y="0"/>
                    <a:pt x="274" y="59"/>
                    <a:pt x="274" y="138"/>
                  </a:cubicBezTo>
                  <a:cubicBezTo>
                    <a:pt x="274" y="216"/>
                    <a:pt x="196" y="275"/>
                    <a:pt x="137" y="275"/>
                  </a:cubicBezTo>
                  <a:cubicBezTo>
                    <a:pt x="59" y="275"/>
                    <a:pt x="0" y="216"/>
                    <a:pt x="0" y="138"/>
                  </a:cubicBezTo>
                </a:path>
              </a:pathLst>
            </a:custGeom>
            <a:solidFill>
              <a:schemeClr val="bg1">
                <a:lumMod val="95000"/>
              </a:schemeClr>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62" name="Freeform 58">
              <a:extLst>
                <a:ext uri="{FF2B5EF4-FFF2-40B4-BE49-F238E27FC236}">
                  <a16:creationId xmlns:a16="http://schemas.microsoft.com/office/drawing/2014/main" id="{33C87162-447A-8A26-8635-27D722D4A763}"/>
                </a:ext>
              </a:extLst>
            </p:cNvPr>
            <p:cNvSpPr>
              <a:spLocks noChangeArrowheads="1"/>
            </p:cNvSpPr>
            <p:nvPr/>
          </p:nvSpPr>
          <p:spPr bwMode="auto">
            <a:xfrm>
              <a:off x="4399882" y="2083437"/>
              <a:ext cx="2464932" cy="693790"/>
            </a:xfrm>
            <a:custGeom>
              <a:avLst/>
              <a:gdLst>
                <a:gd name="T0" fmla="*/ 4955 w 5779"/>
                <a:gd name="T1" fmla="*/ 0 h 1627"/>
                <a:gd name="T2" fmla="*/ 4955 w 5779"/>
                <a:gd name="T3" fmla="*/ 0 h 1627"/>
                <a:gd name="T4" fmla="*/ 823 w 5779"/>
                <a:gd name="T5" fmla="*/ 0 h 1627"/>
                <a:gd name="T6" fmla="*/ 0 w 5779"/>
                <a:gd name="T7" fmla="*/ 823 h 1627"/>
                <a:gd name="T8" fmla="*/ 0 w 5779"/>
                <a:gd name="T9" fmla="*/ 823 h 1627"/>
                <a:gd name="T10" fmla="*/ 823 w 5779"/>
                <a:gd name="T11" fmla="*/ 1626 h 1627"/>
                <a:gd name="T12" fmla="*/ 4955 w 5779"/>
                <a:gd name="T13" fmla="*/ 1626 h 1627"/>
                <a:gd name="T14" fmla="*/ 5778 w 5779"/>
                <a:gd name="T15" fmla="*/ 823 h 1627"/>
                <a:gd name="T16" fmla="*/ 5778 w 5779"/>
                <a:gd name="T17" fmla="*/ 823 h 1627"/>
                <a:gd name="T18" fmla="*/ 4955 w 5779"/>
                <a:gd name="T19" fmla="*/ 0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79" h="1627">
                  <a:moveTo>
                    <a:pt x="4955" y="0"/>
                  </a:moveTo>
                  <a:lnTo>
                    <a:pt x="4955" y="0"/>
                  </a:lnTo>
                  <a:cubicBezTo>
                    <a:pt x="823" y="0"/>
                    <a:pt x="823" y="0"/>
                    <a:pt x="823" y="0"/>
                  </a:cubicBezTo>
                  <a:cubicBezTo>
                    <a:pt x="372" y="0"/>
                    <a:pt x="0" y="372"/>
                    <a:pt x="0" y="823"/>
                  </a:cubicBezTo>
                  <a:lnTo>
                    <a:pt x="0" y="823"/>
                  </a:lnTo>
                  <a:cubicBezTo>
                    <a:pt x="0" y="1273"/>
                    <a:pt x="372" y="1626"/>
                    <a:pt x="823" y="1626"/>
                  </a:cubicBezTo>
                  <a:cubicBezTo>
                    <a:pt x="4955" y="1626"/>
                    <a:pt x="4955" y="1626"/>
                    <a:pt x="4955" y="1626"/>
                  </a:cubicBezTo>
                  <a:cubicBezTo>
                    <a:pt x="5406" y="1626"/>
                    <a:pt x="5778" y="1273"/>
                    <a:pt x="5778" y="823"/>
                  </a:cubicBezTo>
                  <a:lnTo>
                    <a:pt x="5778" y="823"/>
                  </a:lnTo>
                  <a:cubicBezTo>
                    <a:pt x="5778" y="372"/>
                    <a:pt x="5406" y="0"/>
                    <a:pt x="4955" y="0"/>
                  </a:cubicBezTo>
                </a:path>
              </a:pathLst>
            </a:custGeom>
            <a:solidFill>
              <a:schemeClr val="accent1"/>
            </a:solidFill>
            <a:ln>
              <a:noFill/>
            </a:ln>
            <a:effectLst/>
            <a:extLst>
              <a:ext uri="{91240B29-F687-4F45-9708-019B960494DF}">
                <a14:hiddenLine xmlns:a14="http://schemas.microsoft.com/office/drawing/2010/main" w="9525" cap="flat">
                  <a:solidFill>
                    <a:srgbClr val="232323"/>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63" name="Freeform 59">
              <a:extLst>
                <a:ext uri="{FF2B5EF4-FFF2-40B4-BE49-F238E27FC236}">
                  <a16:creationId xmlns:a16="http://schemas.microsoft.com/office/drawing/2014/main" id="{82FF13E4-7D18-C215-A948-9AD0A93A504B}"/>
                </a:ext>
              </a:extLst>
            </p:cNvPr>
            <p:cNvSpPr>
              <a:spLocks noChangeArrowheads="1"/>
            </p:cNvSpPr>
            <p:nvPr/>
          </p:nvSpPr>
          <p:spPr bwMode="auto">
            <a:xfrm>
              <a:off x="3931715" y="2459476"/>
              <a:ext cx="359116" cy="458767"/>
            </a:xfrm>
            <a:custGeom>
              <a:avLst/>
              <a:gdLst>
                <a:gd name="T0" fmla="*/ 39 w 843"/>
                <a:gd name="T1" fmla="*/ 1077 h 1078"/>
                <a:gd name="T2" fmla="*/ 0 w 843"/>
                <a:gd name="T3" fmla="*/ 1039 h 1078"/>
                <a:gd name="T4" fmla="*/ 803 w 843"/>
                <a:gd name="T5" fmla="*/ 0 h 1078"/>
                <a:gd name="T6" fmla="*/ 842 w 843"/>
                <a:gd name="T7" fmla="*/ 20 h 1078"/>
                <a:gd name="T8" fmla="*/ 39 w 843"/>
                <a:gd name="T9" fmla="*/ 1077 h 1078"/>
              </a:gdLst>
              <a:ahLst/>
              <a:cxnLst>
                <a:cxn ang="0">
                  <a:pos x="T0" y="T1"/>
                </a:cxn>
                <a:cxn ang="0">
                  <a:pos x="T2" y="T3"/>
                </a:cxn>
                <a:cxn ang="0">
                  <a:pos x="T4" y="T5"/>
                </a:cxn>
                <a:cxn ang="0">
                  <a:pos x="T6" y="T7"/>
                </a:cxn>
                <a:cxn ang="0">
                  <a:pos x="T8" y="T9"/>
                </a:cxn>
              </a:cxnLst>
              <a:rect l="0" t="0" r="r" b="b"/>
              <a:pathLst>
                <a:path w="843" h="1078">
                  <a:moveTo>
                    <a:pt x="39" y="1077"/>
                  </a:moveTo>
                  <a:lnTo>
                    <a:pt x="0" y="1039"/>
                  </a:lnTo>
                  <a:lnTo>
                    <a:pt x="803" y="0"/>
                  </a:lnTo>
                  <a:lnTo>
                    <a:pt x="842" y="20"/>
                  </a:lnTo>
                  <a:lnTo>
                    <a:pt x="39" y="1077"/>
                  </a:lnTo>
                </a:path>
              </a:pathLst>
            </a:custGeom>
            <a:ln>
              <a:headEnd/>
              <a:tailEnd/>
            </a:ln>
          </p:spPr>
          <p:style>
            <a:lnRef idx="1">
              <a:schemeClr val="accent1"/>
            </a:lnRef>
            <a:fillRef idx="0">
              <a:schemeClr val="accent1"/>
            </a:fillRef>
            <a:effectRef idx="0">
              <a:schemeClr val="accent1"/>
            </a:effectRef>
            <a:fontRef idx="minor">
              <a:schemeClr val="tx1"/>
            </a:fontRef>
          </p:style>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64" name="Freeform 60">
              <a:extLst>
                <a:ext uri="{FF2B5EF4-FFF2-40B4-BE49-F238E27FC236}">
                  <a16:creationId xmlns:a16="http://schemas.microsoft.com/office/drawing/2014/main" id="{14612666-F761-7189-8362-718783E1E57F}"/>
                </a:ext>
              </a:extLst>
            </p:cNvPr>
            <p:cNvSpPr>
              <a:spLocks noChangeArrowheads="1"/>
            </p:cNvSpPr>
            <p:nvPr/>
          </p:nvSpPr>
          <p:spPr bwMode="auto">
            <a:xfrm>
              <a:off x="3832064" y="2811071"/>
              <a:ext cx="191780" cy="193661"/>
            </a:xfrm>
            <a:custGeom>
              <a:avLst/>
              <a:gdLst>
                <a:gd name="T0" fmla="*/ 235 w 451"/>
                <a:gd name="T1" fmla="*/ 451 h 452"/>
                <a:gd name="T2" fmla="*/ 235 w 451"/>
                <a:gd name="T3" fmla="*/ 451 h 452"/>
                <a:gd name="T4" fmla="*/ 0 w 451"/>
                <a:gd name="T5" fmla="*/ 216 h 452"/>
                <a:gd name="T6" fmla="*/ 235 w 451"/>
                <a:gd name="T7" fmla="*/ 0 h 452"/>
                <a:gd name="T8" fmla="*/ 450 w 451"/>
                <a:gd name="T9" fmla="*/ 216 h 452"/>
                <a:gd name="T10" fmla="*/ 235 w 451"/>
                <a:gd name="T11" fmla="*/ 451 h 452"/>
              </a:gdLst>
              <a:ahLst/>
              <a:cxnLst>
                <a:cxn ang="0">
                  <a:pos x="T0" y="T1"/>
                </a:cxn>
                <a:cxn ang="0">
                  <a:pos x="T2" y="T3"/>
                </a:cxn>
                <a:cxn ang="0">
                  <a:pos x="T4" y="T5"/>
                </a:cxn>
                <a:cxn ang="0">
                  <a:pos x="T6" y="T7"/>
                </a:cxn>
                <a:cxn ang="0">
                  <a:pos x="T8" y="T9"/>
                </a:cxn>
                <a:cxn ang="0">
                  <a:pos x="T10" y="T11"/>
                </a:cxn>
              </a:cxnLst>
              <a:rect l="0" t="0" r="r" b="b"/>
              <a:pathLst>
                <a:path w="451" h="452">
                  <a:moveTo>
                    <a:pt x="235" y="451"/>
                  </a:moveTo>
                  <a:lnTo>
                    <a:pt x="235" y="451"/>
                  </a:lnTo>
                  <a:cubicBezTo>
                    <a:pt x="118" y="451"/>
                    <a:pt x="0" y="352"/>
                    <a:pt x="0" y="216"/>
                  </a:cubicBezTo>
                  <a:cubicBezTo>
                    <a:pt x="0" y="98"/>
                    <a:pt x="118" y="0"/>
                    <a:pt x="235" y="0"/>
                  </a:cubicBezTo>
                  <a:cubicBezTo>
                    <a:pt x="353" y="0"/>
                    <a:pt x="450" y="98"/>
                    <a:pt x="450" y="216"/>
                  </a:cubicBezTo>
                  <a:cubicBezTo>
                    <a:pt x="450" y="352"/>
                    <a:pt x="353" y="451"/>
                    <a:pt x="235" y="451"/>
                  </a:cubicBezTo>
                </a:path>
              </a:pathLst>
            </a:custGeom>
            <a:solidFill>
              <a:schemeClr val="bg1">
                <a:lumMod val="95000"/>
              </a:schemeClr>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65" name="Freeform 61">
              <a:extLst>
                <a:ext uri="{FF2B5EF4-FFF2-40B4-BE49-F238E27FC236}">
                  <a16:creationId xmlns:a16="http://schemas.microsoft.com/office/drawing/2014/main" id="{7095CE6C-68E5-B355-F431-1CA72C3C810D}"/>
                </a:ext>
              </a:extLst>
            </p:cNvPr>
            <p:cNvSpPr>
              <a:spLocks noChangeAspect="1" noChangeArrowheads="1"/>
            </p:cNvSpPr>
            <p:nvPr/>
          </p:nvSpPr>
          <p:spPr bwMode="auto">
            <a:xfrm>
              <a:off x="3873429" y="2852434"/>
              <a:ext cx="216000" cy="216000"/>
            </a:xfrm>
            <a:custGeom>
              <a:avLst/>
              <a:gdLst>
                <a:gd name="T0" fmla="*/ 0 w 256"/>
                <a:gd name="T1" fmla="*/ 118 h 255"/>
                <a:gd name="T2" fmla="*/ 0 w 256"/>
                <a:gd name="T3" fmla="*/ 118 h 255"/>
                <a:gd name="T4" fmla="*/ 137 w 256"/>
                <a:gd name="T5" fmla="*/ 0 h 255"/>
                <a:gd name="T6" fmla="*/ 255 w 256"/>
                <a:gd name="T7" fmla="*/ 118 h 255"/>
                <a:gd name="T8" fmla="*/ 137 w 256"/>
                <a:gd name="T9" fmla="*/ 254 h 255"/>
                <a:gd name="T10" fmla="*/ 0 w 256"/>
                <a:gd name="T11" fmla="*/ 118 h 255"/>
              </a:gdLst>
              <a:ahLst/>
              <a:cxnLst>
                <a:cxn ang="0">
                  <a:pos x="T0" y="T1"/>
                </a:cxn>
                <a:cxn ang="0">
                  <a:pos x="T2" y="T3"/>
                </a:cxn>
                <a:cxn ang="0">
                  <a:pos x="T4" y="T5"/>
                </a:cxn>
                <a:cxn ang="0">
                  <a:pos x="T6" y="T7"/>
                </a:cxn>
                <a:cxn ang="0">
                  <a:pos x="T8" y="T9"/>
                </a:cxn>
                <a:cxn ang="0">
                  <a:pos x="T10" y="T11"/>
                </a:cxn>
              </a:cxnLst>
              <a:rect l="0" t="0" r="r" b="b"/>
              <a:pathLst>
                <a:path w="256" h="255">
                  <a:moveTo>
                    <a:pt x="0" y="118"/>
                  </a:moveTo>
                  <a:lnTo>
                    <a:pt x="0" y="118"/>
                  </a:lnTo>
                  <a:cubicBezTo>
                    <a:pt x="0" y="59"/>
                    <a:pt x="59" y="0"/>
                    <a:pt x="137" y="0"/>
                  </a:cubicBezTo>
                  <a:cubicBezTo>
                    <a:pt x="196" y="0"/>
                    <a:pt x="255" y="59"/>
                    <a:pt x="255" y="118"/>
                  </a:cubicBezTo>
                  <a:cubicBezTo>
                    <a:pt x="255" y="196"/>
                    <a:pt x="196" y="254"/>
                    <a:pt x="137" y="254"/>
                  </a:cubicBezTo>
                  <a:cubicBezTo>
                    <a:pt x="59" y="254"/>
                    <a:pt x="0" y="196"/>
                    <a:pt x="0" y="118"/>
                  </a:cubicBezTo>
                </a:path>
              </a:pathLst>
            </a:custGeom>
            <a:solidFill>
              <a:schemeClr val="accent1"/>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66" name="Freeform 62">
              <a:extLst>
                <a:ext uri="{FF2B5EF4-FFF2-40B4-BE49-F238E27FC236}">
                  <a16:creationId xmlns:a16="http://schemas.microsoft.com/office/drawing/2014/main" id="{88FEFB8F-2418-BE62-B37B-ADE7FC8D2EF0}"/>
                </a:ext>
              </a:extLst>
            </p:cNvPr>
            <p:cNvSpPr>
              <a:spLocks noChangeArrowheads="1"/>
            </p:cNvSpPr>
            <p:nvPr/>
          </p:nvSpPr>
          <p:spPr bwMode="auto">
            <a:xfrm>
              <a:off x="4050167" y="2184968"/>
              <a:ext cx="535855" cy="533975"/>
            </a:xfrm>
            <a:custGeom>
              <a:avLst/>
              <a:gdLst>
                <a:gd name="T0" fmla="*/ 0 w 1255"/>
                <a:gd name="T1" fmla="*/ 626 h 1254"/>
                <a:gd name="T2" fmla="*/ 0 w 1255"/>
                <a:gd name="T3" fmla="*/ 626 h 1254"/>
                <a:gd name="T4" fmla="*/ 627 w 1255"/>
                <a:gd name="T5" fmla="*/ 0 h 1254"/>
                <a:gd name="T6" fmla="*/ 1254 w 1255"/>
                <a:gd name="T7" fmla="*/ 626 h 1254"/>
                <a:gd name="T8" fmla="*/ 627 w 1255"/>
                <a:gd name="T9" fmla="*/ 1253 h 1254"/>
                <a:gd name="T10" fmla="*/ 0 w 1255"/>
                <a:gd name="T11" fmla="*/ 626 h 1254"/>
              </a:gdLst>
              <a:ahLst/>
              <a:cxnLst>
                <a:cxn ang="0">
                  <a:pos x="T0" y="T1"/>
                </a:cxn>
                <a:cxn ang="0">
                  <a:pos x="T2" y="T3"/>
                </a:cxn>
                <a:cxn ang="0">
                  <a:pos x="T4" y="T5"/>
                </a:cxn>
                <a:cxn ang="0">
                  <a:pos x="T6" y="T7"/>
                </a:cxn>
                <a:cxn ang="0">
                  <a:pos x="T8" y="T9"/>
                </a:cxn>
                <a:cxn ang="0">
                  <a:pos x="T10" y="T11"/>
                </a:cxn>
              </a:cxnLst>
              <a:rect l="0" t="0" r="r" b="b"/>
              <a:pathLst>
                <a:path w="1255" h="1254">
                  <a:moveTo>
                    <a:pt x="0" y="626"/>
                  </a:moveTo>
                  <a:lnTo>
                    <a:pt x="0" y="626"/>
                  </a:lnTo>
                  <a:cubicBezTo>
                    <a:pt x="0" y="294"/>
                    <a:pt x="275" y="0"/>
                    <a:pt x="627" y="0"/>
                  </a:cubicBezTo>
                  <a:cubicBezTo>
                    <a:pt x="980" y="0"/>
                    <a:pt x="1254" y="294"/>
                    <a:pt x="1254" y="626"/>
                  </a:cubicBezTo>
                  <a:cubicBezTo>
                    <a:pt x="1254" y="979"/>
                    <a:pt x="980" y="1253"/>
                    <a:pt x="627" y="1253"/>
                  </a:cubicBezTo>
                  <a:cubicBezTo>
                    <a:pt x="275" y="1253"/>
                    <a:pt x="0" y="979"/>
                    <a:pt x="0" y="626"/>
                  </a:cubicBezTo>
                </a:path>
              </a:pathLst>
            </a:custGeom>
            <a:solidFill>
              <a:schemeClr val="bg1">
                <a:lumMod val="65000"/>
              </a:schemeClr>
            </a:solidFill>
            <a:ln>
              <a:noFill/>
            </a:ln>
            <a:effectLst/>
            <a:extLst>
              <a:ext uri="{91240B29-F687-4F45-9708-019B960494DF}">
                <a14:hiddenLine xmlns:a14="http://schemas.microsoft.com/office/drawing/2010/main" w="9525" cap="flat">
                  <a:solidFill>
                    <a:srgbClr val="232323"/>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67" name="Freeform 63">
              <a:extLst>
                <a:ext uri="{FF2B5EF4-FFF2-40B4-BE49-F238E27FC236}">
                  <a16:creationId xmlns:a16="http://schemas.microsoft.com/office/drawing/2014/main" id="{0039BD95-9791-D976-3B89-21D47092EBAA}"/>
                </a:ext>
              </a:extLst>
            </p:cNvPr>
            <p:cNvSpPr>
              <a:spLocks noChangeArrowheads="1"/>
            </p:cNvSpPr>
            <p:nvPr/>
          </p:nvSpPr>
          <p:spPr bwMode="auto">
            <a:xfrm>
              <a:off x="5125636" y="2978408"/>
              <a:ext cx="2455530" cy="693790"/>
            </a:xfrm>
            <a:custGeom>
              <a:avLst/>
              <a:gdLst>
                <a:gd name="T0" fmla="*/ 4957 w 5761"/>
                <a:gd name="T1" fmla="*/ 0 h 1627"/>
                <a:gd name="T2" fmla="*/ 4957 w 5761"/>
                <a:gd name="T3" fmla="*/ 0 h 1627"/>
                <a:gd name="T4" fmla="*/ 804 w 5761"/>
                <a:gd name="T5" fmla="*/ 0 h 1627"/>
                <a:gd name="T6" fmla="*/ 0 w 5761"/>
                <a:gd name="T7" fmla="*/ 803 h 1627"/>
                <a:gd name="T8" fmla="*/ 0 w 5761"/>
                <a:gd name="T9" fmla="*/ 803 h 1627"/>
                <a:gd name="T10" fmla="*/ 804 w 5761"/>
                <a:gd name="T11" fmla="*/ 1626 h 1627"/>
                <a:gd name="T12" fmla="*/ 4957 w 5761"/>
                <a:gd name="T13" fmla="*/ 1626 h 1627"/>
                <a:gd name="T14" fmla="*/ 5760 w 5761"/>
                <a:gd name="T15" fmla="*/ 803 h 1627"/>
                <a:gd name="T16" fmla="*/ 5760 w 5761"/>
                <a:gd name="T17" fmla="*/ 803 h 1627"/>
                <a:gd name="T18" fmla="*/ 4957 w 5761"/>
                <a:gd name="T19" fmla="*/ 0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1" h="1627">
                  <a:moveTo>
                    <a:pt x="4957" y="0"/>
                  </a:moveTo>
                  <a:lnTo>
                    <a:pt x="4957" y="0"/>
                  </a:lnTo>
                  <a:cubicBezTo>
                    <a:pt x="804" y="0"/>
                    <a:pt x="804" y="0"/>
                    <a:pt x="804" y="0"/>
                  </a:cubicBezTo>
                  <a:cubicBezTo>
                    <a:pt x="373" y="0"/>
                    <a:pt x="0" y="352"/>
                    <a:pt x="0" y="803"/>
                  </a:cubicBezTo>
                  <a:lnTo>
                    <a:pt x="0" y="803"/>
                  </a:lnTo>
                  <a:cubicBezTo>
                    <a:pt x="0" y="1253"/>
                    <a:pt x="373" y="1626"/>
                    <a:pt x="804" y="1626"/>
                  </a:cubicBezTo>
                  <a:cubicBezTo>
                    <a:pt x="4957" y="1626"/>
                    <a:pt x="4957" y="1626"/>
                    <a:pt x="4957" y="1626"/>
                  </a:cubicBezTo>
                  <a:cubicBezTo>
                    <a:pt x="5407" y="1626"/>
                    <a:pt x="5760" y="1253"/>
                    <a:pt x="5760" y="803"/>
                  </a:cubicBezTo>
                  <a:lnTo>
                    <a:pt x="5760" y="803"/>
                  </a:lnTo>
                  <a:cubicBezTo>
                    <a:pt x="5760" y="352"/>
                    <a:pt x="5407" y="0"/>
                    <a:pt x="4957" y="0"/>
                  </a:cubicBezTo>
                </a:path>
              </a:pathLst>
            </a:custGeom>
            <a:solidFill>
              <a:schemeClr val="accent2"/>
            </a:solidFill>
            <a:ln>
              <a:noFill/>
            </a:ln>
            <a:effectLst/>
            <a:extLst>
              <a:ext uri="{91240B29-F687-4F45-9708-019B960494DF}">
                <a14:hiddenLine xmlns:a14="http://schemas.microsoft.com/office/drawing/2010/main" w="9525" cap="flat">
                  <a:solidFill>
                    <a:srgbClr val="232323"/>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68" name="Freeform 64">
              <a:extLst>
                <a:ext uri="{FF2B5EF4-FFF2-40B4-BE49-F238E27FC236}">
                  <a16:creationId xmlns:a16="http://schemas.microsoft.com/office/drawing/2014/main" id="{CB6C273C-248A-6619-51E3-7F66E61BC2DA}"/>
                </a:ext>
              </a:extLst>
            </p:cNvPr>
            <p:cNvSpPr>
              <a:spLocks noChangeArrowheads="1"/>
            </p:cNvSpPr>
            <p:nvPr/>
          </p:nvSpPr>
          <p:spPr bwMode="auto">
            <a:xfrm>
              <a:off x="4433726" y="3328124"/>
              <a:ext cx="601662" cy="266987"/>
            </a:xfrm>
            <a:custGeom>
              <a:avLst/>
              <a:gdLst>
                <a:gd name="T0" fmla="*/ 19 w 1410"/>
                <a:gd name="T1" fmla="*/ 627 h 628"/>
                <a:gd name="T2" fmla="*/ 0 w 1410"/>
                <a:gd name="T3" fmla="*/ 569 h 628"/>
                <a:gd name="T4" fmla="*/ 1389 w 1410"/>
                <a:gd name="T5" fmla="*/ 0 h 628"/>
                <a:gd name="T6" fmla="*/ 1409 w 1410"/>
                <a:gd name="T7" fmla="*/ 40 h 628"/>
                <a:gd name="T8" fmla="*/ 19 w 1410"/>
                <a:gd name="T9" fmla="*/ 627 h 628"/>
              </a:gdLst>
              <a:ahLst/>
              <a:cxnLst>
                <a:cxn ang="0">
                  <a:pos x="T0" y="T1"/>
                </a:cxn>
                <a:cxn ang="0">
                  <a:pos x="T2" y="T3"/>
                </a:cxn>
                <a:cxn ang="0">
                  <a:pos x="T4" y="T5"/>
                </a:cxn>
                <a:cxn ang="0">
                  <a:pos x="T6" y="T7"/>
                </a:cxn>
                <a:cxn ang="0">
                  <a:pos x="T8" y="T9"/>
                </a:cxn>
              </a:cxnLst>
              <a:rect l="0" t="0" r="r" b="b"/>
              <a:pathLst>
                <a:path w="1410" h="628">
                  <a:moveTo>
                    <a:pt x="19" y="627"/>
                  </a:moveTo>
                  <a:lnTo>
                    <a:pt x="0" y="569"/>
                  </a:lnTo>
                  <a:lnTo>
                    <a:pt x="1389" y="0"/>
                  </a:lnTo>
                  <a:lnTo>
                    <a:pt x="1409" y="40"/>
                  </a:lnTo>
                  <a:lnTo>
                    <a:pt x="19" y="627"/>
                  </a:lnTo>
                </a:path>
              </a:pathLst>
            </a:custGeom>
            <a:ln>
              <a:headEnd/>
              <a:tailEnd/>
            </a:ln>
          </p:spPr>
          <p:style>
            <a:lnRef idx="1">
              <a:schemeClr val="accent2"/>
            </a:lnRef>
            <a:fillRef idx="0">
              <a:schemeClr val="accent2"/>
            </a:fillRef>
            <a:effectRef idx="0">
              <a:schemeClr val="accent2"/>
            </a:effectRef>
            <a:fontRef idx="minor">
              <a:schemeClr val="tx1"/>
            </a:fontRef>
          </p:style>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69" name="Freeform 65">
              <a:extLst>
                <a:ext uri="{FF2B5EF4-FFF2-40B4-BE49-F238E27FC236}">
                  <a16:creationId xmlns:a16="http://schemas.microsoft.com/office/drawing/2014/main" id="{18AFBA45-FC38-B0C4-4ACD-D22F02B7C2CD}"/>
                </a:ext>
              </a:extLst>
            </p:cNvPr>
            <p:cNvSpPr>
              <a:spLocks noChangeArrowheads="1"/>
            </p:cNvSpPr>
            <p:nvPr/>
          </p:nvSpPr>
          <p:spPr bwMode="auto">
            <a:xfrm>
              <a:off x="4358518" y="3486060"/>
              <a:ext cx="193661" cy="193659"/>
            </a:xfrm>
            <a:custGeom>
              <a:avLst/>
              <a:gdLst>
                <a:gd name="T0" fmla="*/ 235 w 452"/>
                <a:gd name="T1" fmla="*/ 451 h 452"/>
                <a:gd name="T2" fmla="*/ 235 w 452"/>
                <a:gd name="T3" fmla="*/ 451 h 452"/>
                <a:gd name="T4" fmla="*/ 0 w 452"/>
                <a:gd name="T5" fmla="*/ 216 h 452"/>
                <a:gd name="T6" fmla="*/ 235 w 452"/>
                <a:gd name="T7" fmla="*/ 0 h 452"/>
                <a:gd name="T8" fmla="*/ 451 w 452"/>
                <a:gd name="T9" fmla="*/ 216 h 452"/>
                <a:gd name="T10" fmla="*/ 235 w 452"/>
                <a:gd name="T11" fmla="*/ 451 h 452"/>
              </a:gdLst>
              <a:ahLst/>
              <a:cxnLst>
                <a:cxn ang="0">
                  <a:pos x="T0" y="T1"/>
                </a:cxn>
                <a:cxn ang="0">
                  <a:pos x="T2" y="T3"/>
                </a:cxn>
                <a:cxn ang="0">
                  <a:pos x="T4" y="T5"/>
                </a:cxn>
                <a:cxn ang="0">
                  <a:pos x="T6" y="T7"/>
                </a:cxn>
                <a:cxn ang="0">
                  <a:pos x="T8" y="T9"/>
                </a:cxn>
                <a:cxn ang="0">
                  <a:pos x="T10" y="T11"/>
                </a:cxn>
              </a:cxnLst>
              <a:rect l="0" t="0" r="r" b="b"/>
              <a:pathLst>
                <a:path w="452" h="452">
                  <a:moveTo>
                    <a:pt x="235" y="451"/>
                  </a:moveTo>
                  <a:lnTo>
                    <a:pt x="235" y="451"/>
                  </a:lnTo>
                  <a:cubicBezTo>
                    <a:pt x="98" y="451"/>
                    <a:pt x="0" y="353"/>
                    <a:pt x="0" y="216"/>
                  </a:cubicBezTo>
                  <a:cubicBezTo>
                    <a:pt x="0" y="98"/>
                    <a:pt x="98" y="0"/>
                    <a:pt x="235" y="0"/>
                  </a:cubicBezTo>
                  <a:cubicBezTo>
                    <a:pt x="353" y="0"/>
                    <a:pt x="451" y="98"/>
                    <a:pt x="451" y="216"/>
                  </a:cubicBezTo>
                  <a:cubicBezTo>
                    <a:pt x="451" y="353"/>
                    <a:pt x="353" y="451"/>
                    <a:pt x="235" y="451"/>
                  </a:cubicBezTo>
                </a:path>
              </a:pathLst>
            </a:custGeom>
            <a:solidFill>
              <a:schemeClr val="bg1">
                <a:lumMod val="95000"/>
              </a:schemeClr>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70" name="Freeform 66">
              <a:extLst>
                <a:ext uri="{FF2B5EF4-FFF2-40B4-BE49-F238E27FC236}">
                  <a16:creationId xmlns:a16="http://schemas.microsoft.com/office/drawing/2014/main" id="{ACF0B883-E1CC-DB80-FE81-8831C6B1E942}"/>
                </a:ext>
              </a:extLst>
            </p:cNvPr>
            <p:cNvSpPr>
              <a:spLocks noChangeAspect="1" noChangeArrowheads="1"/>
            </p:cNvSpPr>
            <p:nvPr/>
          </p:nvSpPr>
          <p:spPr bwMode="auto">
            <a:xfrm>
              <a:off x="4399882" y="3529303"/>
              <a:ext cx="216000" cy="216000"/>
            </a:xfrm>
            <a:custGeom>
              <a:avLst/>
              <a:gdLst>
                <a:gd name="T0" fmla="*/ 0 w 256"/>
                <a:gd name="T1" fmla="*/ 118 h 256"/>
                <a:gd name="T2" fmla="*/ 0 w 256"/>
                <a:gd name="T3" fmla="*/ 118 h 256"/>
                <a:gd name="T4" fmla="*/ 137 w 256"/>
                <a:gd name="T5" fmla="*/ 0 h 256"/>
                <a:gd name="T6" fmla="*/ 255 w 256"/>
                <a:gd name="T7" fmla="*/ 118 h 256"/>
                <a:gd name="T8" fmla="*/ 137 w 256"/>
                <a:gd name="T9" fmla="*/ 255 h 256"/>
                <a:gd name="T10" fmla="*/ 0 w 256"/>
                <a:gd name="T11" fmla="*/ 118 h 256"/>
              </a:gdLst>
              <a:ahLst/>
              <a:cxnLst>
                <a:cxn ang="0">
                  <a:pos x="T0" y="T1"/>
                </a:cxn>
                <a:cxn ang="0">
                  <a:pos x="T2" y="T3"/>
                </a:cxn>
                <a:cxn ang="0">
                  <a:pos x="T4" y="T5"/>
                </a:cxn>
                <a:cxn ang="0">
                  <a:pos x="T6" y="T7"/>
                </a:cxn>
                <a:cxn ang="0">
                  <a:pos x="T8" y="T9"/>
                </a:cxn>
                <a:cxn ang="0">
                  <a:pos x="T10" y="T11"/>
                </a:cxn>
              </a:cxnLst>
              <a:rect l="0" t="0" r="r" b="b"/>
              <a:pathLst>
                <a:path w="256" h="256">
                  <a:moveTo>
                    <a:pt x="0" y="118"/>
                  </a:moveTo>
                  <a:lnTo>
                    <a:pt x="0" y="118"/>
                  </a:lnTo>
                  <a:cubicBezTo>
                    <a:pt x="0" y="59"/>
                    <a:pt x="59" y="0"/>
                    <a:pt x="137" y="0"/>
                  </a:cubicBezTo>
                  <a:cubicBezTo>
                    <a:pt x="196" y="0"/>
                    <a:pt x="255" y="59"/>
                    <a:pt x="255" y="118"/>
                  </a:cubicBezTo>
                  <a:cubicBezTo>
                    <a:pt x="255" y="196"/>
                    <a:pt x="196" y="255"/>
                    <a:pt x="137" y="255"/>
                  </a:cubicBezTo>
                  <a:cubicBezTo>
                    <a:pt x="59" y="255"/>
                    <a:pt x="0" y="196"/>
                    <a:pt x="0" y="118"/>
                  </a:cubicBezTo>
                </a:path>
              </a:pathLst>
            </a:custGeom>
            <a:solidFill>
              <a:schemeClr val="accent2"/>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71" name="Freeform 67">
              <a:extLst>
                <a:ext uri="{FF2B5EF4-FFF2-40B4-BE49-F238E27FC236}">
                  <a16:creationId xmlns:a16="http://schemas.microsoft.com/office/drawing/2014/main" id="{E2D6627B-6429-28CD-747F-6913FAB92DF5}"/>
                </a:ext>
              </a:extLst>
            </p:cNvPr>
            <p:cNvSpPr>
              <a:spLocks noChangeArrowheads="1"/>
            </p:cNvSpPr>
            <p:nvPr/>
          </p:nvSpPr>
          <p:spPr bwMode="auto">
            <a:xfrm>
              <a:off x="4775921" y="3078058"/>
              <a:ext cx="526454" cy="533975"/>
            </a:xfrm>
            <a:custGeom>
              <a:avLst/>
              <a:gdLst>
                <a:gd name="T0" fmla="*/ 0 w 1234"/>
                <a:gd name="T1" fmla="*/ 627 h 1254"/>
                <a:gd name="T2" fmla="*/ 0 w 1234"/>
                <a:gd name="T3" fmla="*/ 627 h 1254"/>
                <a:gd name="T4" fmla="*/ 626 w 1234"/>
                <a:gd name="T5" fmla="*/ 0 h 1254"/>
                <a:gd name="T6" fmla="*/ 1233 w 1234"/>
                <a:gd name="T7" fmla="*/ 627 h 1254"/>
                <a:gd name="T8" fmla="*/ 626 w 1234"/>
                <a:gd name="T9" fmla="*/ 1253 h 1254"/>
                <a:gd name="T10" fmla="*/ 0 w 1234"/>
                <a:gd name="T11" fmla="*/ 627 h 1254"/>
              </a:gdLst>
              <a:ahLst/>
              <a:cxnLst>
                <a:cxn ang="0">
                  <a:pos x="T0" y="T1"/>
                </a:cxn>
                <a:cxn ang="0">
                  <a:pos x="T2" y="T3"/>
                </a:cxn>
                <a:cxn ang="0">
                  <a:pos x="T4" y="T5"/>
                </a:cxn>
                <a:cxn ang="0">
                  <a:pos x="T6" y="T7"/>
                </a:cxn>
                <a:cxn ang="0">
                  <a:pos x="T8" y="T9"/>
                </a:cxn>
                <a:cxn ang="0">
                  <a:pos x="T10" y="T11"/>
                </a:cxn>
              </a:cxnLst>
              <a:rect l="0" t="0" r="r" b="b"/>
              <a:pathLst>
                <a:path w="1234" h="1254">
                  <a:moveTo>
                    <a:pt x="0" y="627"/>
                  </a:moveTo>
                  <a:lnTo>
                    <a:pt x="0" y="627"/>
                  </a:lnTo>
                  <a:cubicBezTo>
                    <a:pt x="0" y="274"/>
                    <a:pt x="274" y="0"/>
                    <a:pt x="626" y="0"/>
                  </a:cubicBezTo>
                  <a:cubicBezTo>
                    <a:pt x="958" y="0"/>
                    <a:pt x="1233" y="274"/>
                    <a:pt x="1233" y="627"/>
                  </a:cubicBezTo>
                  <a:cubicBezTo>
                    <a:pt x="1233" y="959"/>
                    <a:pt x="958" y="1253"/>
                    <a:pt x="626" y="1253"/>
                  </a:cubicBezTo>
                  <a:cubicBezTo>
                    <a:pt x="274" y="1253"/>
                    <a:pt x="0" y="959"/>
                    <a:pt x="0" y="627"/>
                  </a:cubicBezTo>
                </a:path>
              </a:pathLst>
            </a:custGeom>
            <a:solidFill>
              <a:schemeClr val="bg1">
                <a:lumMod val="65000"/>
              </a:schemeClr>
            </a:solidFill>
            <a:ln>
              <a:noFill/>
            </a:ln>
            <a:effectLst/>
            <a:extLst>
              <a:ext uri="{91240B29-F687-4F45-9708-019B960494DF}">
                <a14:hiddenLine xmlns:a14="http://schemas.microsoft.com/office/drawing/2010/main" w="9525" cap="flat">
                  <a:solidFill>
                    <a:srgbClr val="232323"/>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72" name="Freeform 68">
              <a:extLst>
                <a:ext uri="{FF2B5EF4-FFF2-40B4-BE49-F238E27FC236}">
                  <a16:creationId xmlns:a16="http://schemas.microsoft.com/office/drawing/2014/main" id="{106E719B-DFE7-8DC9-7EDB-9BD72C05F1DB}"/>
                </a:ext>
              </a:extLst>
            </p:cNvPr>
            <p:cNvSpPr>
              <a:spLocks noChangeArrowheads="1"/>
            </p:cNvSpPr>
            <p:nvPr/>
          </p:nvSpPr>
          <p:spPr bwMode="auto">
            <a:xfrm>
              <a:off x="5276052" y="3862098"/>
              <a:ext cx="2455530" cy="693790"/>
            </a:xfrm>
            <a:custGeom>
              <a:avLst/>
              <a:gdLst>
                <a:gd name="T0" fmla="*/ 4956 w 5760"/>
                <a:gd name="T1" fmla="*/ 0 h 1626"/>
                <a:gd name="T2" fmla="*/ 4956 w 5760"/>
                <a:gd name="T3" fmla="*/ 0 h 1626"/>
                <a:gd name="T4" fmla="*/ 803 w 5760"/>
                <a:gd name="T5" fmla="*/ 0 h 1626"/>
                <a:gd name="T6" fmla="*/ 0 w 5760"/>
                <a:gd name="T7" fmla="*/ 822 h 1626"/>
                <a:gd name="T8" fmla="*/ 0 w 5760"/>
                <a:gd name="T9" fmla="*/ 822 h 1626"/>
                <a:gd name="T10" fmla="*/ 803 w 5760"/>
                <a:gd name="T11" fmla="*/ 1625 h 1626"/>
                <a:gd name="T12" fmla="*/ 4956 w 5760"/>
                <a:gd name="T13" fmla="*/ 1625 h 1626"/>
                <a:gd name="T14" fmla="*/ 5759 w 5760"/>
                <a:gd name="T15" fmla="*/ 822 h 1626"/>
                <a:gd name="T16" fmla="*/ 5759 w 5760"/>
                <a:gd name="T17" fmla="*/ 822 h 1626"/>
                <a:gd name="T18" fmla="*/ 4956 w 5760"/>
                <a:gd name="T19" fmla="*/ 0 h 1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0" h="1626">
                  <a:moveTo>
                    <a:pt x="4956" y="0"/>
                  </a:moveTo>
                  <a:lnTo>
                    <a:pt x="4956" y="0"/>
                  </a:lnTo>
                  <a:cubicBezTo>
                    <a:pt x="803" y="0"/>
                    <a:pt x="803" y="0"/>
                    <a:pt x="803" y="0"/>
                  </a:cubicBezTo>
                  <a:cubicBezTo>
                    <a:pt x="372" y="0"/>
                    <a:pt x="0" y="371"/>
                    <a:pt x="0" y="822"/>
                  </a:cubicBezTo>
                  <a:lnTo>
                    <a:pt x="0" y="822"/>
                  </a:lnTo>
                  <a:cubicBezTo>
                    <a:pt x="0" y="1252"/>
                    <a:pt x="372" y="1625"/>
                    <a:pt x="803" y="1625"/>
                  </a:cubicBezTo>
                  <a:cubicBezTo>
                    <a:pt x="4956" y="1625"/>
                    <a:pt x="4956" y="1625"/>
                    <a:pt x="4956" y="1625"/>
                  </a:cubicBezTo>
                  <a:cubicBezTo>
                    <a:pt x="5407" y="1625"/>
                    <a:pt x="5759" y="1252"/>
                    <a:pt x="5759" y="822"/>
                  </a:cubicBezTo>
                  <a:lnTo>
                    <a:pt x="5759" y="822"/>
                  </a:lnTo>
                  <a:cubicBezTo>
                    <a:pt x="5759" y="371"/>
                    <a:pt x="5407" y="0"/>
                    <a:pt x="4956" y="0"/>
                  </a:cubicBezTo>
                </a:path>
              </a:pathLst>
            </a:custGeom>
            <a:solidFill>
              <a:schemeClr val="accent3"/>
            </a:solidFill>
            <a:ln>
              <a:noFill/>
            </a:ln>
            <a:effectLst/>
            <a:extLst>
              <a:ext uri="{91240B29-F687-4F45-9708-019B960494DF}">
                <a14:hiddenLine xmlns:a14="http://schemas.microsoft.com/office/drawing/2010/main" w="9525" cap="flat">
                  <a:solidFill>
                    <a:srgbClr val="232323"/>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73" name="Freeform 69">
              <a:extLst>
                <a:ext uri="{FF2B5EF4-FFF2-40B4-BE49-F238E27FC236}">
                  <a16:creationId xmlns:a16="http://schemas.microsoft.com/office/drawing/2014/main" id="{43F7D524-6D8B-A489-A824-B0407597A012}"/>
                </a:ext>
              </a:extLst>
            </p:cNvPr>
            <p:cNvSpPr>
              <a:spLocks noChangeArrowheads="1"/>
            </p:cNvSpPr>
            <p:nvPr/>
          </p:nvSpPr>
          <p:spPr bwMode="auto">
            <a:xfrm>
              <a:off x="4550298" y="4204293"/>
              <a:ext cx="609182" cy="26323"/>
            </a:xfrm>
            <a:custGeom>
              <a:avLst/>
              <a:gdLst>
                <a:gd name="T0" fmla="*/ 1429 w 1430"/>
                <a:gd name="T1" fmla="*/ 59 h 60"/>
                <a:gd name="T2" fmla="*/ 0 w 1430"/>
                <a:gd name="T3" fmla="*/ 59 h 60"/>
                <a:gd name="T4" fmla="*/ 0 w 1430"/>
                <a:gd name="T5" fmla="*/ 0 h 60"/>
                <a:gd name="T6" fmla="*/ 1429 w 1430"/>
                <a:gd name="T7" fmla="*/ 0 h 60"/>
                <a:gd name="T8" fmla="*/ 1429 w 1430"/>
                <a:gd name="T9" fmla="*/ 59 h 60"/>
              </a:gdLst>
              <a:ahLst/>
              <a:cxnLst>
                <a:cxn ang="0">
                  <a:pos x="T0" y="T1"/>
                </a:cxn>
                <a:cxn ang="0">
                  <a:pos x="T2" y="T3"/>
                </a:cxn>
                <a:cxn ang="0">
                  <a:pos x="T4" y="T5"/>
                </a:cxn>
                <a:cxn ang="0">
                  <a:pos x="T6" y="T7"/>
                </a:cxn>
                <a:cxn ang="0">
                  <a:pos x="T8" y="T9"/>
                </a:cxn>
              </a:cxnLst>
              <a:rect l="0" t="0" r="r" b="b"/>
              <a:pathLst>
                <a:path w="1430" h="60">
                  <a:moveTo>
                    <a:pt x="1429" y="59"/>
                  </a:moveTo>
                  <a:lnTo>
                    <a:pt x="0" y="59"/>
                  </a:lnTo>
                  <a:lnTo>
                    <a:pt x="0" y="0"/>
                  </a:lnTo>
                  <a:lnTo>
                    <a:pt x="1429" y="0"/>
                  </a:lnTo>
                  <a:lnTo>
                    <a:pt x="1429" y="59"/>
                  </a:lnTo>
                </a:path>
              </a:pathLst>
            </a:custGeom>
            <a:ln>
              <a:headEnd/>
              <a:tailEnd/>
            </a:ln>
          </p:spPr>
          <p:style>
            <a:lnRef idx="1">
              <a:schemeClr val="accent1"/>
            </a:lnRef>
            <a:fillRef idx="0">
              <a:schemeClr val="accent1"/>
            </a:fillRef>
            <a:effectRef idx="0">
              <a:schemeClr val="accent1"/>
            </a:effectRef>
            <a:fontRef idx="minor">
              <a:schemeClr val="tx1"/>
            </a:fontRef>
          </p:style>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74" name="Freeform 70">
              <a:extLst>
                <a:ext uri="{FF2B5EF4-FFF2-40B4-BE49-F238E27FC236}">
                  <a16:creationId xmlns:a16="http://schemas.microsoft.com/office/drawing/2014/main" id="{9EEF4F45-9F3C-FA21-191B-CBCFFFE79A91}"/>
                </a:ext>
              </a:extLst>
            </p:cNvPr>
            <p:cNvSpPr>
              <a:spLocks noChangeArrowheads="1"/>
            </p:cNvSpPr>
            <p:nvPr/>
          </p:nvSpPr>
          <p:spPr bwMode="auto">
            <a:xfrm>
              <a:off x="4484491" y="4121565"/>
              <a:ext cx="193659" cy="193659"/>
            </a:xfrm>
            <a:custGeom>
              <a:avLst/>
              <a:gdLst>
                <a:gd name="T0" fmla="*/ 235 w 452"/>
                <a:gd name="T1" fmla="*/ 451 h 452"/>
                <a:gd name="T2" fmla="*/ 235 w 452"/>
                <a:gd name="T3" fmla="*/ 451 h 452"/>
                <a:gd name="T4" fmla="*/ 0 w 452"/>
                <a:gd name="T5" fmla="*/ 216 h 452"/>
                <a:gd name="T6" fmla="*/ 235 w 452"/>
                <a:gd name="T7" fmla="*/ 0 h 452"/>
                <a:gd name="T8" fmla="*/ 451 w 452"/>
                <a:gd name="T9" fmla="*/ 216 h 452"/>
                <a:gd name="T10" fmla="*/ 235 w 452"/>
                <a:gd name="T11" fmla="*/ 451 h 452"/>
              </a:gdLst>
              <a:ahLst/>
              <a:cxnLst>
                <a:cxn ang="0">
                  <a:pos x="T0" y="T1"/>
                </a:cxn>
                <a:cxn ang="0">
                  <a:pos x="T2" y="T3"/>
                </a:cxn>
                <a:cxn ang="0">
                  <a:pos x="T4" y="T5"/>
                </a:cxn>
                <a:cxn ang="0">
                  <a:pos x="T6" y="T7"/>
                </a:cxn>
                <a:cxn ang="0">
                  <a:pos x="T8" y="T9"/>
                </a:cxn>
                <a:cxn ang="0">
                  <a:pos x="T10" y="T11"/>
                </a:cxn>
              </a:cxnLst>
              <a:rect l="0" t="0" r="r" b="b"/>
              <a:pathLst>
                <a:path w="452" h="452">
                  <a:moveTo>
                    <a:pt x="235" y="451"/>
                  </a:moveTo>
                  <a:lnTo>
                    <a:pt x="235" y="451"/>
                  </a:lnTo>
                  <a:cubicBezTo>
                    <a:pt x="118" y="451"/>
                    <a:pt x="0" y="353"/>
                    <a:pt x="0" y="216"/>
                  </a:cubicBezTo>
                  <a:cubicBezTo>
                    <a:pt x="0" y="98"/>
                    <a:pt x="118" y="0"/>
                    <a:pt x="235" y="0"/>
                  </a:cubicBezTo>
                  <a:cubicBezTo>
                    <a:pt x="353" y="0"/>
                    <a:pt x="451" y="98"/>
                    <a:pt x="451" y="216"/>
                  </a:cubicBezTo>
                  <a:cubicBezTo>
                    <a:pt x="451" y="353"/>
                    <a:pt x="353" y="451"/>
                    <a:pt x="235" y="451"/>
                  </a:cubicBezTo>
                </a:path>
              </a:pathLst>
            </a:custGeom>
            <a:solidFill>
              <a:schemeClr val="bg1">
                <a:lumMod val="95000"/>
              </a:schemeClr>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75" name="Freeform 71">
              <a:extLst>
                <a:ext uri="{FF2B5EF4-FFF2-40B4-BE49-F238E27FC236}">
                  <a16:creationId xmlns:a16="http://schemas.microsoft.com/office/drawing/2014/main" id="{824E204B-FCD5-428A-1913-3732FD30F8C6}"/>
                </a:ext>
              </a:extLst>
            </p:cNvPr>
            <p:cNvSpPr>
              <a:spLocks noChangeAspect="1" noChangeArrowheads="1"/>
            </p:cNvSpPr>
            <p:nvPr/>
          </p:nvSpPr>
          <p:spPr bwMode="auto">
            <a:xfrm>
              <a:off x="4515470" y="4125458"/>
              <a:ext cx="216000" cy="216000"/>
            </a:xfrm>
            <a:custGeom>
              <a:avLst/>
              <a:gdLst>
                <a:gd name="T0" fmla="*/ 0 w 256"/>
                <a:gd name="T1" fmla="*/ 118 h 256"/>
                <a:gd name="T2" fmla="*/ 0 w 256"/>
                <a:gd name="T3" fmla="*/ 118 h 256"/>
                <a:gd name="T4" fmla="*/ 137 w 256"/>
                <a:gd name="T5" fmla="*/ 0 h 256"/>
                <a:gd name="T6" fmla="*/ 255 w 256"/>
                <a:gd name="T7" fmla="*/ 118 h 256"/>
                <a:gd name="T8" fmla="*/ 137 w 256"/>
                <a:gd name="T9" fmla="*/ 255 h 256"/>
                <a:gd name="T10" fmla="*/ 0 w 256"/>
                <a:gd name="T11" fmla="*/ 118 h 256"/>
              </a:gdLst>
              <a:ahLst/>
              <a:cxnLst>
                <a:cxn ang="0">
                  <a:pos x="T0" y="T1"/>
                </a:cxn>
                <a:cxn ang="0">
                  <a:pos x="T2" y="T3"/>
                </a:cxn>
                <a:cxn ang="0">
                  <a:pos x="T4" y="T5"/>
                </a:cxn>
                <a:cxn ang="0">
                  <a:pos x="T6" y="T7"/>
                </a:cxn>
                <a:cxn ang="0">
                  <a:pos x="T8" y="T9"/>
                </a:cxn>
                <a:cxn ang="0">
                  <a:pos x="T10" y="T11"/>
                </a:cxn>
              </a:cxnLst>
              <a:rect l="0" t="0" r="r" b="b"/>
              <a:pathLst>
                <a:path w="256" h="256">
                  <a:moveTo>
                    <a:pt x="0" y="118"/>
                  </a:moveTo>
                  <a:lnTo>
                    <a:pt x="0" y="118"/>
                  </a:lnTo>
                  <a:cubicBezTo>
                    <a:pt x="0" y="59"/>
                    <a:pt x="59" y="0"/>
                    <a:pt x="137" y="0"/>
                  </a:cubicBezTo>
                  <a:cubicBezTo>
                    <a:pt x="196" y="0"/>
                    <a:pt x="255" y="59"/>
                    <a:pt x="255" y="118"/>
                  </a:cubicBezTo>
                  <a:cubicBezTo>
                    <a:pt x="255" y="196"/>
                    <a:pt x="196" y="255"/>
                    <a:pt x="137" y="255"/>
                  </a:cubicBezTo>
                  <a:cubicBezTo>
                    <a:pt x="59" y="255"/>
                    <a:pt x="0" y="196"/>
                    <a:pt x="0" y="118"/>
                  </a:cubicBezTo>
                </a:path>
              </a:pathLst>
            </a:custGeom>
            <a:solidFill>
              <a:schemeClr val="accent3"/>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76" name="Freeform 72">
              <a:extLst>
                <a:ext uri="{FF2B5EF4-FFF2-40B4-BE49-F238E27FC236}">
                  <a16:creationId xmlns:a16="http://schemas.microsoft.com/office/drawing/2014/main" id="{578AD16B-9B37-03D0-0D6C-7C20BF90EEF4}"/>
                </a:ext>
              </a:extLst>
            </p:cNvPr>
            <p:cNvSpPr>
              <a:spLocks noChangeArrowheads="1"/>
            </p:cNvSpPr>
            <p:nvPr/>
          </p:nvSpPr>
          <p:spPr bwMode="auto">
            <a:xfrm>
              <a:off x="4926336" y="3961748"/>
              <a:ext cx="526454" cy="533975"/>
            </a:xfrm>
            <a:custGeom>
              <a:avLst/>
              <a:gdLst>
                <a:gd name="T0" fmla="*/ 0 w 1234"/>
                <a:gd name="T1" fmla="*/ 627 h 1254"/>
                <a:gd name="T2" fmla="*/ 0 w 1234"/>
                <a:gd name="T3" fmla="*/ 627 h 1254"/>
                <a:gd name="T4" fmla="*/ 626 w 1234"/>
                <a:gd name="T5" fmla="*/ 0 h 1254"/>
                <a:gd name="T6" fmla="*/ 1233 w 1234"/>
                <a:gd name="T7" fmla="*/ 627 h 1254"/>
                <a:gd name="T8" fmla="*/ 626 w 1234"/>
                <a:gd name="T9" fmla="*/ 1253 h 1254"/>
                <a:gd name="T10" fmla="*/ 0 w 1234"/>
                <a:gd name="T11" fmla="*/ 627 h 1254"/>
              </a:gdLst>
              <a:ahLst/>
              <a:cxnLst>
                <a:cxn ang="0">
                  <a:pos x="T0" y="T1"/>
                </a:cxn>
                <a:cxn ang="0">
                  <a:pos x="T2" y="T3"/>
                </a:cxn>
                <a:cxn ang="0">
                  <a:pos x="T4" y="T5"/>
                </a:cxn>
                <a:cxn ang="0">
                  <a:pos x="T6" y="T7"/>
                </a:cxn>
                <a:cxn ang="0">
                  <a:pos x="T8" y="T9"/>
                </a:cxn>
                <a:cxn ang="0">
                  <a:pos x="T10" y="T11"/>
                </a:cxn>
              </a:cxnLst>
              <a:rect l="0" t="0" r="r" b="b"/>
              <a:pathLst>
                <a:path w="1234" h="1254">
                  <a:moveTo>
                    <a:pt x="0" y="627"/>
                  </a:moveTo>
                  <a:lnTo>
                    <a:pt x="0" y="627"/>
                  </a:lnTo>
                  <a:cubicBezTo>
                    <a:pt x="0" y="294"/>
                    <a:pt x="274" y="0"/>
                    <a:pt x="626" y="0"/>
                  </a:cubicBezTo>
                  <a:cubicBezTo>
                    <a:pt x="959" y="0"/>
                    <a:pt x="1233" y="294"/>
                    <a:pt x="1233" y="627"/>
                  </a:cubicBezTo>
                  <a:cubicBezTo>
                    <a:pt x="1233" y="979"/>
                    <a:pt x="959" y="1253"/>
                    <a:pt x="626" y="1253"/>
                  </a:cubicBezTo>
                  <a:cubicBezTo>
                    <a:pt x="274" y="1253"/>
                    <a:pt x="0" y="979"/>
                    <a:pt x="0" y="627"/>
                  </a:cubicBezTo>
                </a:path>
              </a:pathLst>
            </a:custGeom>
            <a:solidFill>
              <a:schemeClr val="bg1">
                <a:lumMod val="65000"/>
              </a:schemeClr>
            </a:solidFill>
            <a:ln>
              <a:noFill/>
            </a:ln>
            <a:effectLst/>
            <a:extLst>
              <a:ext uri="{91240B29-F687-4F45-9708-019B960494DF}">
                <a14:hiddenLine xmlns:a14="http://schemas.microsoft.com/office/drawing/2010/main" w="9525" cap="flat">
                  <a:solidFill>
                    <a:srgbClr val="232323"/>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77" name="Freeform 73">
              <a:extLst>
                <a:ext uri="{FF2B5EF4-FFF2-40B4-BE49-F238E27FC236}">
                  <a16:creationId xmlns:a16="http://schemas.microsoft.com/office/drawing/2014/main" id="{DABC71C3-280B-7B37-6DAE-DA57045DEB3D}"/>
                </a:ext>
              </a:extLst>
            </p:cNvPr>
            <p:cNvSpPr>
              <a:spLocks noChangeArrowheads="1"/>
            </p:cNvSpPr>
            <p:nvPr/>
          </p:nvSpPr>
          <p:spPr bwMode="auto">
            <a:xfrm>
              <a:off x="5084272" y="4755189"/>
              <a:ext cx="2464932" cy="684390"/>
            </a:xfrm>
            <a:custGeom>
              <a:avLst/>
              <a:gdLst>
                <a:gd name="T0" fmla="*/ 4956 w 5780"/>
                <a:gd name="T1" fmla="*/ 0 h 1607"/>
                <a:gd name="T2" fmla="*/ 4956 w 5780"/>
                <a:gd name="T3" fmla="*/ 0 h 1607"/>
                <a:gd name="T4" fmla="*/ 823 w 5780"/>
                <a:gd name="T5" fmla="*/ 0 h 1607"/>
                <a:gd name="T6" fmla="*/ 0 w 5780"/>
                <a:gd name="T7" fmla="*/ 803 h 1607"/>
                <a:gd name="T8" fmla="*/ 0 w 5780"/>
                <a:gd name="T9" fmla="*/ 803 h 1607"/>
                <a:gd name="T10" fmla="*/ 823 w 5780"/>
                <a:gd name="T11" fmla="*/ 1606 h 1607"/>
                <a:gd name="T12" fmla="*/ 4956 w 5780"/>
                <a:gd name="T13" fmla="*/ 1606 h 1607"/>
                <a:gd name="T14" fmla="*/ 5779 w 5780"/>
                <a:gd name="T15" fmla="*/ 803 h 1607"/>
                <a:gd name="T16" fmla="*/ 5779 w 5780"/>
                <a:gd name="T17" fmla="*/ 803 h 1607"/>
                <a:gd name="T18" fmla="*/ 4956 w 5780"/>
                <a:gd name="T19" fmla="*/ 0 h 1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80" h="1607">
                  <a:moveTo>
                    <a:pt x="4956" y="0"/>
                  </a:moveTo>
                  <a:lnTo>
                    <a:pt x="4956" y="0"/>
                  </a:lnTo>
                  <a:cubicBezTo>
                    <a:pt x="823" y="0"/>
                    <a:pt x="823" y="0"/>
                    <a:pt x="823" y="0"/>
                  </a:cubicBezTo>
                  <a:cubicBezTo>
                    <a:pt x="373" y="0"/>
                    <a:pt x="0" y="353"/>
                    <a:pt x="0" y="803"/>
                  </a:cubicBezTo>
                  <a:lnTo>
                    <a:pt x="0" y="803"/>
                  </a:lnTo>
                  <a:cubicBezTo>
                    <a:pt x="0" y="1253"/>
                    <a:pt x="373" y="1606"/>
                    <a:pt x="823" y="1606"/>
                  </a:cubicBezTo>
                  <a:cubicBezTo>
                    <a:pt x="4956" y="1606"/>
                    <a:pt x="4956" y="1606"/>
                    <a:pt x="4956" y="1606"/>
                  </a:cubicBezTo>
                  <a:cubicBezTo>
                    <a:pt x="5407" y="1606"/>
                    <a:pt x="5779" y="1253"/>
                    <a:pt x="5779" y="803"/>
                  </a:cubicBezTo>
                  <a:lnTo>
                    <a:pt x="5779" y="803"/>
                  </a:lnTo>
                  <a:cubicBezTo>
                    <a:pt x="5779" y="353"/>
                    <a:pt x="5407" y="0"/>
                    <a:pt x="4956" y="0"/>
                  </a:cubicBezTo>
                </a:path>
              </a:pathLst>
            </a:custGeom>
            <a:solidFill>
              <a:schemeClr val="accent4"/>
            </a:solidFill>
            <a:ln>
              <a:noFill/>
            </a:ln>
            <a:effectLst/>
            <a:extLst>
              <a:ext uri="{91240B29-F687-4F45-9708-019B960494DF}">
                <a14:hiddenLine xmlns:a14="http://schemas.microsoft.com/office/drawing/2010/main" w="9525" cap="flat">
                  <a:solidFill>
                    <a:srgbClr val="232323"/>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78" name="Freeform 74">
              <a:extLst>
                <a:ext uri="{FF2B5EF4-FFF2-40B4-BE49-F238E27FC236}">
                  <a16:creationId xmlns:a16="http://schemas.microsoft.com/office/drawing/2014/main" id="{BE1902EB-063B-3707-A4F3-E67A07899D36}"/>
                </a:ext>
              </a:extLst>
            </p:cNvPr>
            <p:cNvSpPr>
              <a:spLocks noChangeArrowheads="1"/>
            </p:cNvSpPr>
            <p:nvPr/>
          </p:nvSpPr>
          <p:spPr bwMode="auto">
            <a:xfrm>
              <a:off x="4432565" y="4883760"/>
              <a:ext cx="618583" cy="276388"/>
            </a:xfrm>
            <a:custGeom>
              <a:avLst/>
              <a:gdLst>
                <a:gd name="T0" fmla="*/ 1429 w 1450"/>
                <a:gd name="T1" fmla="*/ 646 h 647"/>
                <a:gd name="T2" fmla="*/ 0 w 1450"/>
                <a:gd name="T3" fmla="*/ 39 h 647"/>
                <a:gd name="T4" fmla="*/ 20 w 1450"/>
                <a:gd name="T5" fmla="*/ 0 h 647"/>
                <a:gd name="T6" fmla="*/ 1449 w 1450"/>
                <a:gd name="T7" fmla="*/ 587 h 647"/>
                <a:gd name="T8" fmla="*/ 1429 w 1450"/>
                <a:gd name="T9" fmla="*/ 646 h 647"/>
              </a:gdLst>
              <a:ahLst/>
              <a:cxnLst>
                <a:cxn ang="0">
                  <a:pos x="T0" y="T1"/>
                </a:cxn>
                <a:cxn ang="0">
                  <a:pos x="T2" y="T3"/>
                </a:cxn>
                <a:cxn ang="0">
                  <a:pos x="T4" y="T5"/>
                </a:cxn>
                <a:cxn ang="0">
                  <a:pos x="T6" y="T7"/>
                </a:cxn>
                <a:cxn ang="0">
                  <a:pos x="T8" y="T9"/>
                </a:cxn>
              </a:cxnLst>
              <a:rect l="0" t="0" r="r" b="b"/>
              <a:pathLst>
                <a:path w="1450" h="647">
                  <a:moveTo>
                    <a:pt x="1429" y="646"/>
                  </a:moveTo>
                  <a:lnTo>
                    <a:pt x="0" y="39"/>
                  </a:lnTo>
                  <a:lnTo>
                    <a:pt x="20" y="0"/>
                  </a:lnTo>
                  <a:lnTo>
                    <a:pt x="1449" y="587"/>
                  </a:lnTo>
                  <a:lnTo>
                    <a:pt x="1429" y="646"/>
                  </a:lnTo>
                </a:path>
              </a:pathLst>
            </a:custGeom>
            <a:ln>
              <a:headEnd/>
              <a:tailEnd/>
            </a:ln>
          </p:spPr>
          <p:style>
            <a:lnRef idx="1">
              <a:schemeClr val="accent4"/>
            </a:lnRef>
            <a:fillRef idx="0">
              <a:schemeClr val="accent4"/>
            </a:fillRef>
            <a:effectRef idx="0">
              <a:schemeClr val="accent4"/>
            </a:effectRef>
            <a:fontRef idx="minor">
              <a:schemeClr val="tx1"/>
            </a:fontRef>
          </p:style>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79" name="Freeform 75">
              <a:extLst>
                <a:ext uri="{FF2B5EF4-FFF2-40B4-BE49-F238E27FC236}">
                  <a16:creationId xmlns:a16="http://schemas.microsoft.com/office/drawing/2014/main" id="{ABB4E559-79A2-65D7-8994-78AF44532195}"/>
                </a:ext>
              </a:extLst>
            </p:cNvPr>
            <p:cNvSpPr>
              <a:spLocks noChangeArrowheads="1"/>
            </p:cNvSpPr>
            <p:nvPr/>
          </p:nvSpPr>
          <p:spPr bwMode="auto">
            <a:xfrm>
              <a:off x="4358518" y="4764590"/>
              <a:ext cx="193661" cy="193659"/>
            </a:xfrm>
            <a:custGeom>
              <a:avLst/>
              <a:gdLst>
                <a:gd name="T0" fmla="*/ 216 w 452"/>
                <a:gd name="T1" fmla="*/ 451 h 452"/>
                <a:gd name="T2" fmla="*/ 216 w 452"/>
                <a:gd name="T3" fmla="*/ 451 h 452"/>
                <a:gd name="T4" fmla="*/ 0 w 452"/>
                <a:gd name="T5" fmla="*/ 235 h 452"/>
                <a:gd name="T6" fmla="*/ 216 w 452"/>
                <a:gd name="T7" fmla="*/ 0 h 452"/>
                <a:gd name="T8" fmla="*/ 451 w 452"/>
                <a:gd name="T9" fmla="*/ 235 h 452"/>
                <a:gd name="T10" fmla="*/ 216 w 452"/>
                <a:gd name="T11" fmla="*/ 451 h 452"/>
              </a:gdLst>
              <a:ahLst/>
              <a:cxnLst>
                <a:cxn ang="0">
                  <a:pos x="T0" y="T1"/>
                </a:cxn>
                <a:cxn ang="0">
                  <a:pos x="T2" y="T3"/>
                </a:cxn>
                <a:cxn ang="0">
                  <a:pos x="T4" y="T5"/>
                </a:cxn>
                <a:cxn ang="0">
                  <a:pos x="T6" y="T7"/>
                </a:cxn>
                <a:cxn ang="0">
                  <a:pos x="T8" y="T9"/>
                </a:cxn>
                <a:cxn ang="0">
                  <a:pos x="T10" y="T11"/>
                </a:cxn>
              </a:cxnLst>
              <a:rect l="0" t="0" r="r" b="b"/>
              <a:pathLst>
                <a:path w="452" h="452">
                  <a:moveTo>
                    <a:pt x="216" y="451"/>
                  </a:moveTo>
                  <a:lnTo>
                    <a:pt x="216" y="451"/>
                  </a:lnTo>
                  <a:cubicBezTo>
                    <a:pt x="98" y="451"/>
                    <a:pt x="0" y="353"/>
                    <a:pt x="0" y="235"/>
                  </a:cubicBezTo>
                  <a:cubicBezTo>
                    <a:pt x="0" y="118"/>
                    <a:pt x="98" y="0"/>
                    <a:pt x="216" y="0"/>
                  </a:cubicBezTo>
                  <a:cubicBezTo>
                    <a:pt x="353" y="0"/>
                    <a:pt x="451" y="118"/>
                    <a:pt x="451" y="235"/>
                  </a:cubicBezTo>
                  <a:cubicBezTo>
                    <a:pt x="451" y="353"/>
                    <a:pt x="353" y="451"/>
                    <a:pt x="216" y="451"/>
                  </a:cubicBezTo>
                </a:path>
              </a:pathLst>
            </a:custGeom>
            <a:solidFill>
              <a:schemeClr val="bg1">
                <a:lumMod val="95000"/>
              </a:schemeClr>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80" name="Freeform 76">
              <a:extLst>
                <a:ext uri="{FF2B5EF4-FFF2-40B4-BE49-F238E27FC236}">
                  <a16:creationId xmlns:a16="http://schemas.microsoft.com/office/drawing/2014/main" id="{3A04E32B-922A-F443-B8E6-ABD136037171}"/>
                </a:ext>
              </a:extLst>
            </p:cNvPr>
            <p:cNvSpPr>
              <a:spLocks noChangeAspect="1" noChangeArrowheads="1"/>
            </p:cNvSpPr>
            <p:nvPr/>
          </p:nvSpPr>
          <p:spPr bwMode="auto">
            <a:xfrm>
              <a:off x="4399882" y="4805954"/>
              <a:ext cx="216000" cy="216000"/>
            </a:xfrm>
            <a:custGeom>
              <a:avLst/>
              <a:gdLst>
                <a:gd name="T0" fmla="*/ 0 w 256"/>
                <a:gd name="T1" fmla="*/ 136 h 255"/>
                <a:gd name="T2" fmla="*/ 0 w 256"/>
                <a:gd name="T3" fmla="*/ 136 h 255"/>
                <a:gd name="T4" fmla="*/ 118 w 256"/>
                <a:gd name="T5" fmla="*/ 0 h 255"/>
                <a:gd name="T6" fmla="*/ 255 w 256"/>
                <a:gd name="T7" fmla="*/ 136 h 255"/>
                <a:gd name="T8" fmla="*/ 118 w 256"/>
                <a:gd name="T9" fmla="*/ 254 h 255"/>
                <a:gd name="T10" fmla="*/ 0 w 256"/>
                <a:gd name="T11" fmla="*/ 136 h 255"/>
              </a:gdLst>
              <a:ahLst/>
              <a:cxnLst>
                <a:cxn ang="0">
                  <a:pos x="T0" y="T1"/>
                </a:cxn>
                <a:cxn ang="0">
                  <a:pos x="T2" y="T3"/>
                </a:cxn>
                <a:cxn ang="0">
                  <a:pos x="T4" y="T5"/>
                </a:cxn>
                <a:cxn ang="0">
                  <a:pos x="T6" y="T7"/>
                </a:cxn>
                <a:cxn ang="0">
                  <a:pos x="T8" y="T9"/>
                </a:cxn>
                <a:cxn ang="0">
                  <a:pos x="T10" y="T11"/>
                </a:cxn>
              </a:cxnLst>
              <a:rect l="0" t="0" r="r" b="b"/>
              <a:pathLst>
                <a:path w="256" h="255">
                  <a:moveTo>
                    <a:pt x="0" y="136"/>
                  </a:moveTo>
                  <a:lnTo>
                    <a:pt x="0" y="136"/>
                  </a:lnTo>
                  <a:cubicBezTo>
                    <a:pt x="0" y="58"/>
                    <a:pt x="59" y="0"/>
                    <a:pt x="118" y="0"/>
                  </a:cubicBezTo>
                  <a:cubicBezTo>
                    <a:pt x="196" y="0"/>
                    <a:pt x="255" y="58"/>
                    <a:pt x="255" y="136"/>
                  </a:cubicBezTo>
                  <a:cubicBezTo>
                    <a:pt x="255" y="195"/>
                    <a:pt x="196" y="254"/>
                    <a:pt x="118" y="254"/>
                  </a:cubicBezTo>
                  <a:cubicBezTo>
                    <a:pt x="59" y="254"/>
                    <a:pt x="0" y="195"/>
                    <a:pt x="0" y="136"/>
                  </a:cubicBezTo>
                </a:path>
              </a:pathLst>
            </a:custGeom>
            <a:solidFill>
              <a:schemeClr val="accent4"/>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81" name="Freeform 77">
              <a:extLst>
                <a:ext uri="{FF2B5EF4-FFF2-40B4-BE49-F238E27FC236}">
                  <a16:creationId xmlns:a16="http://schemas.microsoft.com/office/drawing/2014/main" id="{288B8220-A96F-0DAA-0433-B939994E5BEA}"/>
                </a:ext>
              </a:extLst>
            </p:cNvPr>
            <p:cNvSpPr>
              <a:spLocks noChangeArrowheads="1"/>
            </p:cNvSpPr>
            <p:nvPr/>
          </p:nvSpPr>
          <p:spPr bwMode="auto">
            <a:xfrm>
              <a:off x="4734556" y="4856719"/>
              <a:ext cx="533975" cy="533975"/>
            </a:xfrm>
            <a:custGeom>
              <a:avLst/>
              <a:gdLst>
                <a:gd name="T0" fmla="*/ 0 w 1254"/>
                <a:gd name="T1" fmla="*/ 627 h 1254"/>
                <a:gd name="T2" fmla="*/ 0 w 1254"/>
                <a:gd name="T3" fmla="*/ 627 h 1254"/>
                <a:gd name="T4" fmla="*/ 627 w 1254"/>
                <a:gd name="T5" fmla="*/ 0 h 1254"/>
                <a:gd name="T6" fmla="*/ 1253 w 1254"/>
                <a:gd name="T7" fmla="*/ 627 h 1254"/>
                <a:gd name="T8" fmla="*/ 627 w 1254"/>
                <a:gd name="T9" fmla="*/ 1253 h 1254"/>
                <a:gd name="T10" fmla="*/ 0 w 1254"/>
                <a:gd name="T11" fmla="*/ 627 h 1254"/>
              </a:gdLst>
              <a:ahLst/>
              <a:cxnLst>
                <a:cxn ang="0">
                  <a:pos x="T0" y="T1"/>
                </a:cxn>
                <a:cxn ang="0">
                  <a:pos x="T2" y="T3"/>
                </a:cxn>
                <a:cxn ang="0">
                  <a:pos x="T4" y="T5"/>
                </a:cxn>
                <a:cxn ang="0">
                  <a:pos x="T6" y="T7"/>
                </a:cxn>
                <a:cxn ang="0">
                  <a:pos x="T8" y="T9"/>
                </a:cxn>
                <a:cxn ang="0">
                  <a:pos x="T10" y="T11"/>
                </a:cxn>
              </a:cxnLst>
              <a:rect l="0" t="0" r="r" b="b"/>
              <a:pathLst>
                <a:path w="1254" h="1254">
                  <a:moveTo>
                    <a:pt x="0" y="627"/>
                  </a:moveTo>
                  <a:lnTo>
                    <a:pt x="0" y="627"/>
                  </a:lnTo>
                  <a:cubicBezTo>
                    <a:pt x="0" y="274"/>
                    <a:pt x="274" y="0"/>
                    <a:pt x="627" y="0"/>
                  </a:cubicBezTo>
                  <a:cubicBezTo>
                    <a:pt x="959" y="0"/>
                    <a:pt x="1253" y="274"/>
                    <a:pt x="1253" y="627"/>
                  </a:cubicBezTo>
                  <a:cubicBezTo>
                    <a:pt x="1253" y="959"/>
                    <a:pt x="959" y="1253"/>
                    <a:pt x="627" y="1253"/>
                  </a:cubicBezTo>
                  <a:cubicBezTo>
                    <a:pt x="274" y="1253"/>
                    <a:pt x="0" y="959"/>
                    <a:pt x="0" y="627"/>
                  </a:cubicBezTo>
                </a:path>
              </a:pathLst>
            </a:custGeom>
            <a:solidFill>
              <a:schemeClr val="bg1">
                <a:lumMod val="65000"/>
              </a:schemeClr>
            </a:solidFill>
            <a:ln>
              <a:noFill/>
            </a:ln>
            <a:effectLst/>
            <a:extLst>
              <a:ext uri="{91240B29-F687-4F45-9708-019B960494DF}">
                <a14:hiddenLine xmlns:a14="http://schemas.microsoft.com/office/drawing/2010/main" w="9525" cap="flat">
                  <a:solidFill>
                    <a:srgbClr val="232323"/>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82" name="Freeform 78">
              <a:extLst>
                <a:ext uri="{FF2B5EF4-FFF2-40B4-BE49-F238E27FC236}">
                  <a16:creationId xmlns:a16="http://schemas.microsoft.com/office/drawing/2014/main" id="{C7711C4C-EA1B-7A05-83EA-18C306BDD13B}"/>
                </a:ext>
              </a:extLst>
            </p:cNvPr>
            <p:cNvSpPr>
              <a:spLocks noChangeArrowheads="1"/>
            </p:cNvSpPr>
            <p:nvPr/>
          </p:nvSpPr>
          <p:spPr bwMode="auto">
            <a:xfrm>
              <a:off x="4399882" y="5640760"/>
              <a:ext cx="2464932" cy="693790"/>
            </a:xfrm>
            <a:custGeom>
              <a:avLst/>
              <a:gdLst>
                <a:gd name="T0" fmla="*/ 4955 w 5779"/>
                <a:gd name="T1" fmla="*/ 0 h 1627"/>
                <a:gd name="T2" fmla="*/ 4955 w 5779"/>
                <a:gd name="T3" fmla="*/ 0 h 1627"/>
                <a:gd name="T4" fmla="*/ 823 w 5779"/>
                <a:gd name="T5" fmla="*/ 0 h 1627"/>
                <a:gd name="T6" fmla="*/ 0 w 5779"/>
                <a:gd name="T7" fmla="*/ 803 h 1627"/>
                <a:gd name="T8" fmla="*/ 0 w 5779"/>
                <a:gd name="T9" fmla="*/ 803 h 1627"/>
                <a:gd name="T10" fmla="*/ 823 w 5779"/>
                <a:gd name="T11" fmla="*/ 1626 h 1627"/>
                <a:gd name="T12" fmla="*/ 4955 w 5779"/>
                <a:gd name="T13" fmla="*/ 1626 h 1627"/>
                <a:gd name="T14" fmla="*/ 5778 w 5779"/>
                <a:gd name="T15" fmla="*/ 803 h 1627"/>
                <a:gd name="T16" fmla="*/ 5778 w 5779"/>
                <a:gd name="T17" fmla="*/ 803 h 1627"/>
                <a:gd name="T18" fmla="*/ 4955 w 5779"/>
                <a:gd name="T19" fmla="*/ 0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79" h="1627">
                  <a:moveTo>
                    <a:pt x="4955" y="0"/>
                  </a:moveTo>
                  <a:lnTo>
                    <a:pt x="4955" y="0"/>
                  </a:lnTo>
                  <a:cubicBezTo>
                    <a:pt x="823" y="0"/>
                    <a:pt x="823" y="0"/>
                    <a:pt x="823" y="0"/>
                  </a:cubicBezTo>
                  <a:cubicBezTo>
                    <a:pt x="372" y="0"/>
                    <a:pt x="0" y="372"/>
                    <a:pt x="0" y="803"/>
                  </a:cubicBezTo>
                  <a:lnTo>
                    <a:pt x="0" y="803"/>
                  </a:lnTo>
                  <a:cubicBezTo>
                    <a:pt x="0" y="1254"/>
                    <a:pt x="372" y="1626"/>
                    <a:pt x="823" y="1626"/>
                  </a:cubicBezTo>
                  <a:cubicBezTo>
                    <a:pt x="4955" y="1626"/>
                    <a:pt x="4955" y="1626"/>
                    <a:pt x="4955" y="1626"/>
                  </a:cubicBezTo>
                  <a:cubicBezTo>
                    <a:pt x="5406" y="1626"/>
                    <a:pt x="5778" y="1254"/>
                    <a:pt x="5778" y="803"/>
                  </a:cubicBezTo>
                  <a:lnTo>
                    <a:pt x="5778" y="803"/>
                  </a:lnTo>
                  <a:cubicBezTo>
                    <a:pt x="5778" y="372"/>
                    <a:pt x="5406" y="0"/>
                    <a:pt x="4955" y="0"/>
                  </a:cubicBezTo>
                </a:path>
              </a:pathLst>
            </a:custGeom>
            <a:solidFill>
              <a:schemeClr val="accent5"/>
            </a:solidFill>
            <a:ln>
              <a:noFill/>
            </a:ln>
            <a:effectLst/>
            <a:extLst>
              <a:ext uri="{91240B29-F687-4F45-9708-019B960494DF}">
                <a14:hiddenLine xmlns:a14="http://schemas.microsoft.com/office/drawing/2010/main" w="9525" cap="flat">
                  <a:solidFill>
                    <a:srgbClr val="232323"/>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83" name="Freeform 79">
              <a:extLst>
                <a:ext uri="{FF2B5EF4-FFF2-40B4-BE49-F238E27FC236}">
                  <a16:creationId xmlns:a16="http://schemas.microsoft.com/office/drawing/2014/main" id="{FA3343F0-8203-917A-F3BF-EA8AE39AC683}"/>
                </a:ext>
              </a:extLst>
            </p:cNvPr>
            <p:cNvSpPr>
              <a:spLocks noChangeArrowheads="1"/>
            </p:cNvSpPr>
            <p:nvPr/>
          </p:nvSpPr>
          <p:spPr bwMode="auto">
            <a:xfrm>
              <a:off x="3907272" y="5499745"/>
              <a:ext cx="385440" cy="485090"/>
            </a:xfrm>
            <a:custGeom>
              <a:avLst/>
              <a:gdLst>
                <a:gd name="T0" fmla="*/ 862 w 902"/>
                <a:gd name="T1" fmla="*/ 1136 h 1137"/>
                <a:gd name="T2" fmla="*/ 0 w 902"/>
                <a:gd name="T3" fmla="*/ 20 h 1137"/>
                <a:gd name="T4" fmla="*/ 39 w 902"/>
                <a:gd name="T5" fmla="*/ 0 h 1137"/>
                <a:gd name="T6" fmla="*/ 901 w 902"/>
                <a:gd name="T7" fmla="*/ 1117 h 1137"/>
                <a:gd name="T8" fmla="*/ 862 w 902"/>
                <a:gd name="T9" fmla="*/ 1136 h 1137"/>
              </a:gdLst>
              <a:ahLst/>
              <a:cxnLst>
                <a:cxn ang="0">
                  <a:pos x="T0" y="T1"/>
                </a:cxn>
                <a:cxn ang="0">
                  <a:pos x="T2" y="T3"/>
                </a:cxn>
                <a:cxn ang="0">
                  <a:pos x="T4" y="T5"/>
                </a:cxn>
                <a:cxn ang="0">
                  <a:pos x="T6" y="T7"/>
                </a:cxn>
                <a:cxn ang="0">
                  <a:pos x="T8" y="T9"/>
                </a:cxn>
              </a:cxnLst>
              <a:rect l="0" t="0" r="r" b="b"/>
              <a:pathLst>
                <a:path w="902" h="1137">
                  <a:moveTo>
                    <a:pt x="862" y="1136"/>
                  </a:moveTo>
                  <a:lnTo>
                    <a:pt x="0" y="20"/>
                  </a:lnTo>
                  <a:lnTo>
                    <a:pt x="39" y="0"/>
                  </a:lnTo>
                  <a:lnTo>
                    <a:pt x="901" y="1117"/>
                  </a:lnTo>
                  <a:lnTo>
                    <a:pt x="862" y="1136"/>
                  </a:lnTo>
                </a:path>
              </a:pathLst>
            </a:custGeom>
            <a:ln>
              <a:headEnd/>
              <a:tailEnd/>
            </a:ln>
          </p:spPr>
          <p:style>
            <a:lnRef idx="1">
              <a:schemeClr val="accent5"/>
            </a:lnRef>
            <a:fillRef idx="0">
              <a:schemeClr val="accent5"/>
            </a:fillRef>
            <a:effectRef idx="0">
              <a:schemeClr val="accent5"/>
            </a:effectRef>
            <a:fontRef idx="minor">
              <a:schemeClr val="tx1"/>
            </a:fontRef>
          </p:style>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84" name="Freeform 80">
              <a:extLst>
                <a:ext uri="{FF2B5EF4-FFF2-40B4-BE49-F238E27FC236}">
                  <a16:creationId xmlns:a16="http://schemas.microsoft.com/office/drawing/2014/main" id="{83F6B42A-99C6-239B-43A5-B5310633A660}"/>
                </a:ext>
              </a:extLst>
            </p:cNvPr>
            <p:cNvSpPr>
              <a:spLocks noChangeArrowheads="1"/>
            </p:cNvSpPr>
            <p:nvPr/>
          </p:nvSpPr>
          <p:spPr bwMode="auto">
            <a:xfrm>
              <a:off x="3832064" y="5432058"/>
              <a:ext cx="191780" cy="193661"/>
            </a:xfrm>
            <a:custGeom>
              <a:avLst/>
              <a:gdLst>
                <a:gd name="T0" fmla="*/ 235 w 451"/>
                <a:gd name="T1" fmla="*/ 451 h 452"/>
                <a:gd name="T2" fmla="*/ 235 w 451"/>
                <a:gd name="T3" fmla="*/ 451 h 452"/>
                <a:gd name="T4" fmla="*/ 0 w 451"/>
                <a:gd name="T5" fmla="*/ 235 h 452"/>
                <a:gd name="T6" fmla="*/ 235 w 451"/>
                <a:gd name="T7" fmla="*/ 0 h 452"/>
                <a:gd name="T8" fmla="*/ 450 w 451"/>
                <a:gd name="T9" fmla="*/ 235 h 452"/>
                <a:gd name="T10" fmla="*/ 235 w 451"/>
                <a:gd name="T11" fmla="*/ 451 h 452"/>
              </a:gdLst>
              <a:ahLst/>
              <a:cxnLst>
                <a:cxn ang="0">
                  <a:pos x="T0" y="T1"/>
                </a:cxn>
                <a:cxn ang="0">
                  <a:pos x="T2" y="T3"/>
                </a:cxn>
                <a:cxn ang="0">
                  <a:pos x="T4" y="T5"/>
                </a:cxn>
                <a:cxn ang="0">
                  <a:pos x="T6" y="T7"/>
                </a:cxn>
                <a:cxn ang="0">
                  <a:pos x="T8" y="T9"/>
                </a:cxn>
                <a:cxn ang="0">
                  <a:pos x="T10" y="T11"/>
                </a:cxn>
              </a:cxnLst>
              <a:rect l="0" t="0" r="r" b="b"/>
              <a:pathLst>
                <a:path w="451" h="452">
                  <a:moveTo>
                    <a:pt x="235" y="451"/>
                  </a:moveTo>
                  <a:lnTo>
                    <a:pt x="235" y="451"/>
                  </a:lnTo>
                  <a:cubicBezTo>
                    <a:pt x="98" y="451"/>
                    <a:pt x="0" y="353"/>
                    <a:pt x="0" y="235"/>
                  </a:cubicBezTo>
                  <a:cubicBezTo>
                    <a:pt x="0" y="99"/>
                    <a:pt x="98" y="0"/>
                    <a:pt x="235" y="0"/>
                  </a:cubicBezTo>
                  <a:cubicBezTo>
                    <a:pt x="353" y="0"/>
                    <a:pt x="450" y="99"/>
                    <a:pt x="450" y="235"/>
                  </a:cubicBezTo>
                  <a:cubicBezTo>
                    <a:pt x="450" y="353"/>
                    <a:pt x="353" y="451"/>
                    <a:pt x="235" y="451"/>
                  </a:cubicBezTo>
                </a:path>
              </a:pathLst>
            </a:custGeom>
            <a:solidFill>
              <a:schemeClr val="bg1">
                <a:lumMod val="95000"/>
              </a:schemeClr>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85" name="Freeform 81">
              <a:extLst>
                <a:ext uri="{FF2B5EF4-FFF2-40B4-BE49-F238E27FC236}">
                  <a16:creationId xmlns:a16="http://schemas.microsoft.com/office/drawing/2014/main" id="{93CF28F3-CA70-0A20-C5A0-50037E5814E9}"/>
                </a:ext>
              </a:extLst>
            </p:cNvPr>
            <p:cNvSpPr>
              <a:spLocks noChangeAspect="1" noChangeArrowheads="1"/>
            </p:cNvSpPr>
            <p:nvPr/>
          </p:nvSpPr>
          <p:spPr bwMode="auto">
            <a:xfrm>
              <a:off x="3873429" y="5475302"/>
              <a:ext cx="216000" cy="216000"/>
            </a:xfrm>
            <a:custGeom>
              <a:avLst/>
              <a:gdLst>
                <a:gd name="T0" fmla="*/ 0 w 256"/>
                <a:gd name="T1" fmla="*/ 136 h 255"/>
                <a:gd name="T2" fmla="*/ 0 w 256"/>
                <a:gd name="T3" fmla="*/ 136 h 255"/>
                <a:gd name="T4" fmla="*/ 137 w 256"/>
                <a:gd name="T5" fmla="*/ 0 h 255"/>
                <a:gd name="T6" fmla="*/ 255 w 256"/>
                <a:gd name="T7" fmla="*/ 136 h 255"/>
                <a:gd name="T8" fmla="*/ 137 w 256"/>
                <a:gd name="T9" fmla="*/ 254 h 255"/>
                <a:gd name="T10" fmla="*/ 0 w 256"/>
                <a:gd name="T11" fmla="*/ 136 h 255"/>
              </a:gdLst>
              <a:ahLst/>
              <a:cxnLst>
                <a:cxn ang="0">
                  <a:pos x="T0" y="T1"/>
                </a:cxn>
                <a:cxn ang="0">
                  <a:pos x="T2" y="T3"/>
                </a:cxn>
                <a:cxn ang="0">
                  <a:pos x="T4" y="T5"/>
                </a:cxn>
                <a:cxn ang="0">
                  <a:pos x="T6" y="T7"/>
                </a:cxn>
                <a:cxn ang="0">
                  <a:pos x="T8" y="T9"/>
                </a:cxn>
                <a:cxn ang="0">
                  <a:pos x="T10" y="T11"/>
                </a:cxn>
              </a:cxnLst>
              <a:rect l="0" t="0" r="r" b="b"/>
              <a:pathLst>
                <a:path w="256" h="255">
                  <a:moveTo>
                    <a:pt x="0" y="136"/>
                  </a:moveTo>
                  <a:lnTo>
                    <a:pt x="0" y="136"/>
                  </a:lnTo>
                  <a:cubicBezTo>
                    <a:pt x="0" y="58"/>
                    <a:pt x="59" y="0"/>
                    <a:pt x="137" y="0"/>
                  </a:cubicBezTo>
                  <a:cubicBezTo>
                    <a:pt x="196" y="0"/>
                    <a:pt x="255" y="58"/>
                    <a:pt x="255" y="136"/>
                  </a:cubicBezTo>
                  <a:cubicBezTo>
                    <a:pt x="255" y="195"/>
                    <a:pt x="196" y="254"/>
                    <a:pt x="137" y="254"/>
                  </a:cubicBezTo>
                  <a:cubicBezTo>
                    <a:pt x="59" y="254"/>
                    <a:pt x="0" y="195"/>
                    <a:pt x="0" y="136"/>
                  </a:cubicBezTo>
                </a:path>
              </a:pathLst>
            </a:custGeom>
            <a:solidFill>
              <a:schemeClr val="accent5"/>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86" name="Freeform 82">
              <a:extLst>
                <a:ext uri="{FF2B5EF4-FFF2-40B4-BE49-F238E27FC236}">
                  <a16:creationId xmlns:a16="http://schemas.microsoft.com/office/drawing/2014/main" id="{DE3BB506-B17D-7B0F-3242-FC442E04B971}"/>
                </a:ext>
              </a:extLst>
            </p:cNvPr>
            <p:cNvSpPr>
              <a:spLocks noChangeArrowheads="1"/>
            </p:cNvSpPr>
            <p:nvPr/>
          </p:nvSpPr>
          <p:spPr bwMode="auto">
            <a:xfrm>
              <a:off x="4050167" y="5742290"/>
              <a:ext cx="535855" cy="535854"/>
            </a:xfrm>
            <a:custGeom>
              <a:avLst/>
              <a:gdLst>
                <a:gd name="T0" fmla="*/ 0 w 1255"/>
                <a:gd name="T1" fmla="*/ 627 h 1255"/>
                <a:gd name="T2" fmla="*/ 0 w 1255"/>
                <a:gd name="T3" fmla="*/ 627 h 1255"/>
                <a:gd name="T4" fmla="*/ 627 w 1255"/>
                <a:gd name="T5" fmla="*/ 0 h 1255"/>
                <a:gd name="T6" fmla="*/ 1254 w 1255"/>
                <a:gd name="T7" fmla="*/ 627 h 1255"/>
                <a:gd name="T8" fmla="*/ 627 w 1255"/>
                <a:gd name="T9" fmla="*/ 1254 h 1255"/>
                <a:gd name="T10" fmla="*/ 0 w 1255"/>
                <a:gd name="T11" fmla="*/ 627 h 1255"/>
              </a:gdLst>
              <a:ahLst/>
              <a:cxnLst>
                <a:cxn ang="0">
                  <a:pos x="T0" y="T1"/>
                </a:cxn>
                <a:cxn ang="0">
                  <a:pos x="T2" y="T3"/>
                </a:cxn>
                <a:cxn ang="0">
                  <a:pos x="T4" y="T5"/>
                </a:cxn>
                <a:cxn ang="0">
                  <a:pos x="T6" y="T7"/>
                </a:cxn>
                <a:cxn ang="0">
                  <a:pos x="T8" y="T9"/>
                </a:cxn>
                <a:cxn ang="0">
                  <a:pos x="T10" y="T11"/>
                </a:cxn>
              </a:cxnLst>
              <a:rect l="0" t="0" r="r" b="b"/>
              <a:pathLst>
                <a:path w="1255" h="1255">
                  <a:moveTo>
                    <a:pt x="0" y="627"/>
                  </a:moveTo>
                  <a:lnTo>
                    <a:pt x="0" y="627"/>
                  </a:lnTo>
                  <a:cubicBezTo>
                    <a:pt x="0" y="294"/>
                    <a:pt x="275" y="0"/>
                    <a:pt x="627" y="0"/>
                  </a:cubicBezTo>
                  <a:cubicBezTo>
                    <a:pt x="980" y="0"/>
                    <a:pt x="1254" y="294"/>
                    <a:pt x="1254" y="627"/>
                  </a:cubicBezTo>
                  <a:cubicBezTo>
                    <a:pt x="1254" y="980"/>
                    <a:pt x="980" y="1254"/>
                    <a:pt x="627" y="1254"/>
                  </a:cubicBezTo>
                  <a:cubicBezTo>
                    <a:pt x="275" y="1254"/>
                    <a:pt x="0" y="980"/>
                    <a:pt x="0" y="627"/>
                  </a:cubicBezTo>
                </a:path>
              </a:pathLst>
            </a:custGeom>
            <a:solidFill>
              <a:schemeClr val="bg1">
                <a:lumMod val="65000"/>
              </a:schemeClr>
            </a:solidFill>
            <a:ln>
              <a:noFill/>
            </a:ln>
            <a:effectLst/>
            <a:extLst>
              <a:ext uri="{91240B29-F687-4F45-9708-019B960494DF}">
                <a14:hiddenLine xmlns:a14="http://schemas.microsoft.com/office/drawing/2010/main" w="9525" cap="flat">
                  <a:solidFill>
                    <a:srgbClr val="232323"/>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SV" sz="900" b="0" i="0" u="none" strike="noStrike" kern="1200" cap="none" spc="0" normalizeH="0" baseline="0" noProof="0">
                <a:ln>
                  <a:noFill/>
                </a:ln>
                <a:solidFill>
                  <a:srgbClr val="000000"/>
                </a:solidFill>
                <a:effectLst/>
                <a:uLnTx/>
                <a:uFillTx/>
                <a:latin typeface="Tahoma"/>
                <a:ea typeface="+mn-ea"/>
                <a:cs typeface="+mn-cs"/>
              </a:endParaRPr>
            </a:p>
          </p:txBody>
        </p:sp>
        <p:sp>
          <p:nvSpPr>
            <p:cNvPr id="87" name="TextBox 86">
              <a:extLst>
                <a:ext uri="{FF2B5EF4-FFF2-40B4-BE49-F238E27FC236}">
                  <a16:creationId xmlns:a16="http://schemas.microsoft.com/office/drawing/2014/main" id="{C7D302B0-7054-CCA6-41D3-123EFC75952A}"/>
                </a:ext>
              </a:extLst>
            </p:cNvPr>
            <p:cNvSpPr txBox="1"/>
            <p:nvPr/>
          </p:nvSpPr>
          <p:spPr>
            <a:xfrm>
              <a:off x="7697830" y="2024983"/>
              <a:ext cx="2887267"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mn-MN" sz="2000" b="0" i="0" u="none" strike="noStrike" kern="1200" cap="none" spc="0" normalizeH="0" baseline="0" noProof="0" dirty="0">
                  <a:ln>
                    <a:noFill/>
                  </a:ln>
                  <a:solidFill>
                    <a:srgbClr val="000000"/>
                  </a:solidFill>
                  <a:effectLst/>
                  <a:uLnTx/>
                  <a:uFillTx/>
                  <a:latin typeface="Tahoma"/>
                  <a:ea typeface="Lato Light" panose="020F0502020204030203" pitchFamily="34" charset="0"/>
                  <a:cs typeface="Lato Light" panose="020F0502020204030203" pitchFamily="34" charset="0"/>
                </a:rPr>
                <a:t>Дахин боловсруулах байгууламжийн тоо</a:t>
              </a:r>
              <a:endParaRPr kumimoji="0" lang="en-US" sz="2000" b="0" i="0" u="none" strike="noStrike" kern="1200" cap="none" spc="0" normalizeH="0" baseline="0" noProof="0" dirty="0">
                <a:ln>
                  <a:noFill/>
                </a:ln>
                <a:solidFill>
                  <a:srgbClr val="000000"/>
                </a:solidFill>
                <a:effectLst/>
                <a:uLnTx/>
                <a:uFillTx/>
                <a:latin typeface="Tahoma"/>
                <a:ea typeface="Lato Light" panose="020F0502020204030203" pitchFamily="34" charset="0"/>
                <a:cs typeface="Lato Light" panose="020F0502020204030203" pitchFamily="34" charset="0"/>
              </a:endParaRPr>
            </a:p>
          </p:txBody>
        </p:sp>
        <p:sp>
          <p:nvSpPr>
            <p:cNvPr id="88" name="TextBox 87">
              <a:extLst>
                <a:ext uri="{FF2B5EF4-FFF2-40B4-BE49-F238E27FC236}">
                  <a16:creationId xmlns:a16="http://schemas.microsoft.com/office/drawing/2014/main" id="{E9F2D02A-C5C6-40D2-9B28-0ECF0F8F1E12}"/>
                </a:ext>
              </a:extLst>
            </p:cNvPr>
            <p:cNvSpPr txBox="1"/>
            <p:nvPr/>
          </p:nvSpPr>
          <p:spPr>
            <a:xfrm>
              <a:off x="7731582" y="3004732"/>
              <a:ext cx="2656632"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mn-MN" sz="2000" b="0" i="0" u="none" strike="noStrike" kern="1200" cap="none" spc="0" normalizeH="0" baseline="0" noProof="0" dirty="0">
                  <a:ln>
                    <a:noFill/>
                  </a:ln>
                  <a:solidFill>
                    <a:srgbClr val="000000"/>
                  </a:solidFill>
                  <a:effectLst/>
                  <a:uLnTx/>
                  <a:uFillTx/>
                  <a:latin typeface="Tahoma"/>
                  <a:ea typeface="Lato Light" panose="020F0502020204030203" pitchFamily="34" charset="0"/>
                  <a:cs typeface="Lato Light" panose="020F0502020204030203" pitchFamily="34" charset="0"/>
                </a:rPr>
                <a:t>Хаягдал цуглуулах чадамж</a:t>
              </a:r>
              <a:endParaRPr kumimoji="0" lang="en-US" sz="2000" b="0" i="0" u="none" strike="noStrike" kern="1200" cap="none" spc="0" normalizeH="0" baseline="0" noProof="0" dirty="0">
                <a:ln>
                  <a:noFill/>
                </a:ln>
                <a:solidFill>
                  <a:srgbClr val="000000"/>
                </a:solidFill>
                <a:effectLst/>
                <a:uLnTx/>
                <a:uFillTx/>
                <a:latin typeface="Tahoma"/>
                <a:ea typeface="Lato Light" panose="020F0502020204030203" pitchFamily="34" charset="0"/>
                <a:cs typeface="Lato Light" panose="020F0502020204030203" pitchFamily="34" charset="0"/>
              </a:endParaRPr>
            </a:p>
          </p:txBody>
        </p:sp>
        <p:sp>
          <p:nvSpPr>
            <p:cNvPr id="89" name="TextBox 88">
              <a:extLst>
                <a:ext uri="{FF2B5EF4-FFF2-40B4-BE49-F238E27FC236}">
                  <a16:creationId xmlns:a16="http://schemas.microsoft.com/office/drawing/2014/main" id="{EB11D473-1247-93A2-3F8E-B1F3052A2C87}"/>
                </a:ext>
              </a:extLst>
            </p:cNvPr>
            <p:cNvSpPr txBox="1"/>
            <p:nvPr/>
          </p:nvSpPr>
          <p:spPr>
            <a:xfrm>
              <a:off x="7848154" y="3844085"/>
              <a:ext cx="2856506"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mn-MN" sz="2000" b="0" i="0" u="none" strike="noStrike" kern="1200" cap="none" spc="0" normalizeH="0" baseline="0" noProof="0" dirty="0">
                  <a:ln>
                    <a:noFill/>
                  </a:ln>
                  <a:solidFill>
                    <a:srgbClr val="000000"/>
                  </a:solidFill>
                  <a:effectLst/>
                  <a:uLnTx/>
                  <a:uFillTx/>
                  <a:latin typeface="Tahoma"/>
                  <a:ea typeface="Lato Light" panose="020F0502020204030203" pitchFamily="34" charset="0"/>
                  <a:cs typeface="Lato Light" panose="020F0502020204030203" pitchFamily="34" charset="0"/>
                </a:rPr>
                <a:t>Дахин боловсруулах арга, технологи</a:t>
              </a:r>
              <a:endParaRPr kumimoji="0" lang="en-US" sz="2000" b="0" i="0" u="none" strike="noStrike" kern="1200" cap="none" spc="0" normalizeH="0" baseline="0" noProof="0" dirty="0">
                <a:ln>
                  <a:noFill/>
                </a:ln>
                <a:solidFill>
                  <a:srgbClr val="000000"/>
                </a:solidFill>
                <a:effectLst/>
                <a:uLnTx/>
                <a:uFillTx/>
                <a:latin typeface="Tahoma"/>
                <a:ea typeface="Lato Light" panose="020F0502020204030203" pitchFamily="34" charset="0"/>
                <a:cs typeface="Lato Light" panose="020F0502020204030203" pitchFamily="34" charset="0"/>
              </a:endParaRPr>
            </a:p>
          </p:txBody>
        </p:sp>
        <p:sp>
          <p:nvSpPr>
            <p:cNvPr id="90" name="TextBox 89">
              <a:extLst>
                <a:ext uri="{FF2B5EF4-FFF2-40B4-BE49-F238E27FC236}">
                  <a16:creationId xmlns:a16="http://schemas.microsoft.com/office/drawing/2014/main" id="{5B91C654-6AFC-7B6E-ECFA-446922E89F47}"/>
                </a:ext>
              </a:extLst>
            </p:cNvPr>
            <p:cNvSpPr txBox="1"/>
            <p:nvPr/>
          </p:nvSpPr>
          <p:spPr>
            <a:xfrm>
              <a:off x="7731582" y="4905414"/>
              <a:ext cx="2656632"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mn-MN" sz="2000" b="0" i="0" u="none" strike="noStrike" kern="1200" cap="none" spc="0" normalizeH="0" baseline="0" noProof="0" dirty="0">
                  <a:ln>
                    <a:noFill/>
                  </a:ln>
                  <a:solidFill>
                    <a:srgbClr val="000000"/>
                  </a:solidFill>
                  <a:effectLst/>
                  <a:uLnTx/>
                  <a:uFillTx/>
                  <a:latin typeface="Tahoma"/>
                  <a:ea typeface="Lato Light" panose="020F0502020204030203" pitchFamily="34" charset="0"/>
                  <a:cs typeface="Lato Light" panose="020F0502020204030203" pitchFamily="34" charset="0"/>
                </a:rPr>
                <a:t>Цуглуулах давтамж</a:t>
              </a:r>
              <a:endParaRPr kumimoji="0" lang="en-US" sz="2000" b="0" i="0" u="none" strike="noStrike" kern="1200" cap="none" spc="0" normalizeH="0" baseline="0" noProof="0" dirty="0">
                <a:ln>
                  <a:noFill/>
                </a:ln>
                <a:solidFill>
                  <a:srgbClr val="000000"/>
                </a:solidFill>
                <a:effectLst/>
                <a:uLnTx/>
                <a:uFillTx/>
                <a:latin typeface="Tahoma"/>
                <a:ea typeface="Lato Light" panose="020F0502020204030203" pitchFamily="34" charset="0"/>
                <a:cs typeface="Lato Light" panose="020F0502020204030203" pitchFamily="34" charset="0"/>
              </a:endParaRPr>
            </a:p>
          </p:txBody>
        </p:sp>
        <p:sp>
          <p:nvSpPr>
            <p:cNvPr id="91" name="TextBox 90">
              <a:extLst>
                <a:ext uri="{FF2B5EF4-FFF2-40B4-BE49-F238E27FC236}">
                  <a16:creationId xmlns:a16="http://schemas.microsoft.com/office/drawing/2014/main" id="{110C3658-61EB-1EB8-34C5-E59D630F3699}"/>
                </a:ext>
              </a:extLst>
            </p:cNvPr>
            <p:cNvSpPr txBox="1"/>
            <p:nvPr/>
          </p:nvSpPr>
          <p:spPr>
            <a:xfrm>
              <a:off x="7349797" y="5668243"/>
              <a:ext cx="4367741"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mn-MN" sz="2000" b="0" i="0" u="none" strike="noStrike" kern="1200" cap="none" spc="0" normalizeH="0" baseline="0" noProof="0" dirty="0">
                  <a:ln>
                    <a:noFill/>
                  </a:ln>
                  <a:solidFill>
                    <a:srgbClr val="000000"/>
                  </a:solidFill>
                  <a:effectLst/>
                  <a:uLnTx/>
                  <a:uFillTx/>
                  <a:latin typeface="Tahoma"/>
                  <a:ea typeface="Lato Light" panose="020F0502020204030203" pitchFamily="34" charset="0"/>
                  <a:cs typeface="Lato Light" panose="020F0502020204030203" pitchFamily="34" charset="0"/>
                </a:rPr>
                <a:t>Хаяхаас зайлсхийх боломж, болон хүлэмжийн хийн ялгарал</a:t>
              </a:r>
              <a:endParaRPr kumimoji="0" lang="en-US" sz="2000" b="0" i="0" u="none" strike="noStrike" kern="1200" cap="none" spc="0" normalizeH="0" baseline="0" noProof="0" dirty="0">
                <a:ln>
                  <a:noFill/>
                </a:ln>
                <a:solidFill>
                  <a:srgbClr val="000000"/>
                </a:solidFill>
                <a:effectLst/>
                <a:uLnTx/>
                <a:uFillTx/>
                <a:latin typeface="Tahoma"/>
                <a:ea typeface="Lato Light" panose="020F0502020204030203" pitchFamily="34" charset="0"/>
                <a:cs typeface="Lato Light" panose="020F0502020204030203" pitchFamily="34" charset="0"/>
              </a:endParaRPr>
            </a:p>
          </p:txBody>
        </p:sp>
        <p:sp>
          <p:nvSpPr>
            <p:cNvPr id="92" name="Rectangle 91">
              <a:extLst>
                <a:ext uri="{FF2B5EF4-FFF2-40B4-BE49-F238E27FC236}">
                  <a16:creationId xmlns:a16="http://schemas.microsoft.com/office/drawing/2014/main" id="{8D469F4A-D79B-CF37-B9FC-506E217B3ADB}"/>
                </a:ext>
              </a:extLst>
            </p:cNvPr>
            <p:cNvSpPr/>
            <p:nvPr/>
          </p:nvSpPr>
          <p:spPr>
            <a:xfrm>
              <a:off x="4553613" y="2268529"/>
              <a:ext cx="1832793" cy="338554"/>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mn-MN" sz="1600" b="1" i="0" u="none" strike="noStrike" kern="1200" cap="none" spc="0" normalizeH="0" baseline="0" noProof="0" dirty="0">
                  <a:ln>
                    <a:noFill/>
                  </a:ln>
                  <a:solidFill>
                    <a:srgbClr val="FFFFFF"/>
                  </a:solidFill>
                  <a:effectLst/>
                  <a:uLnTx/>
                  <a:uFillTx/>
                  <a:latin typeface="Tahoma"/>
                  <a:ea typeface="Roboto Medium" panose="02000000000000000000" pitchFamily="2" charset="0"/>
                  <a:cs typeface="Montserrat" charset="0"/>
                </a:rPr>
                <a:t>ХЭМЖЭЭ</a:t>
              </a:r>
              <a:endParaRPr kumimoji="0" lang="en-US" sz="4800" b="1" i="0" u="none" strike="noStrike" kern="1200" cap="none" spc="0" normalizeH="0" baseline="0" noProof="0" dirty="0">
                <a:ln>
                  <a:noFill/>
                </a:ln>
                <a:solidFill>
                  <a:srgbClr val="FFFFFF"/>
                </a:solidFill>
                <a:effectLst/>
                <a:uLnTx/>
                <a:uFillTx/>
                <a:latin typeface="Tahoma"/>
                <a:ea typeface="Roboto Medium" panose="02000000000000000000" pitchFamily="2" charset="0"/>
                <a:cs typeface="Montserrat" charset="0"/>
              </a:endParaRPr>
            </a:p>
          </p:txBody>
        </p:sp>
        <p:sp>
          <p:nvSpPr>
            <p:cNvPr id="93" name="Rectangle 92">
              <a:extLst>
                <a:ext uri="{FF2B5EF4-FFF2-40B4-BE49-F238E27FC236}">
                  <a16:creationId xmlns:a16="http://schemas.microsoft.com/office/drawing/2014/main" id="{E4B4384E-26A6-7B6D-B997-72F5D01E2637}"/>
                </a:ext>
              </a:extLst>
            </p:cNvPr>
            <p:cNvSpPr/>
            <p:nvPr/>
          </p:nvSpPr>
          <p:spPr>
            <a:xfrm>
              <a:off x="5231844" y="3147506"/>
              <a:ext cx="1832793" cy="338554"/>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mn-MN" sz="1600" b="1" i="0" u="none" strike="noStrike" kern="1200" cap="none" spc="0" normalizeH="0" baseline="0" noProof="0" dirty="0">
                  <a:ln>
                    <a:noFill/>
                  </a:ln>
                  <a:solidFill>
                    <a:srgbClr val="FFFFFF"/>
                  </a:solidFill>
                  <a:effectLst/>
                  <a:uLnTx/>
                  <a:uFillTx/>
                  <a:latin typeface="Tahoma"/>
                  <a:ea typeface="Roboto Medium" panose="02000000000000000000" pitchFamily="2" charset="0"/>
                  <a:cs typeface="Montserrat" charset="0"/>
                </a:rPr>
                <a:t>ХЭР ЗЭРЭГ</a:t>
              </a:r>
              <a:endParaRPr kumimoji="0" lang="en-US" sz="4800" b="1" i="0" u="none" strike="noStrike" kern="1200" cap="none" spc="0" normalizeH="0" baseline="0" noProof="0" dirty="0">
                <a:ln>
                  <a:noFill/>
                </a:ln>
                <a:solidFill>
                  <a:srgbClr val="FFFFFF"/>
                </a:solidFill>
                <a:effectLst/>
                <a:uLnTx/>
                <a:uFillTx/>
                <a:latin typeface="Tahoma"/>
                <a:ea typeface="Roboto Medium" panose="02000000000000000000" pitchFamily="2" charset="0"/>
                <a:cs typeface="Montserrat" charset="0"/>
              </a:endParaRPr>
            </a:p>
          </p:txBody>
        </p:sp>
        <p:sp>
          <p:nvSpPr>
            <p:cNvPr id="94" name="Rectangle 93">
              <a:extLst>
                <a:ext uri="{FF2B5EF4-FFF2-40B4-BE49-F238E27FC236}">
                  <a16:creationId xmlns:a16="http://schemas.microsoft.com/office/drawing/2014/main" id="{9FC5F9D1-84AB-3C99-2991-62FB396EE51A}"/>
                </a:ext>
              </a:extLst>
            </p:cNvPr>
            <p:cNvSpPr/>
            <p:nvPr/>
          </p:nvSpPr>
          <p:spPr>
            <a:xfrm>
              <a:off x="5369955" y="3931664"/>
              <a:ext cx="2359746" cy="584775"/>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mn-MN" sz="1600" b="1" dirty="0">
                  <a:solidFill>
                    <a:srgbClr val="FFFFFF"/>
                  </a:solidFill>
                  <a:latin typeface="Tahoma"/>
                  <a:ea typeface="Roboto Medium" panose="02000000000000000000" pitchFamily="2" charset="0"/>
                  <a:cs typeface="Montserrat" charset="0"/>
                </a:rPr>
                <a:t>ХҮНСНИЙ ХАЯГДЛЫН ТӨРӨЛ</a:t>
              </a:r>
              <a:endParaRPr kumimoji="0" lang="en-US" sz="4800" b="1" i="0" u="none" strike="noStrike" kern="1200" cap="none" spc="0" normalizeH="0" baseline="0" noProof="0" dirty="0">
                <a:ln>
                  <a:noFill/>
                </a:ln>
                <a:solidFill>
                  <a:srgbClr val="FFFFFF"/>
                </a:solidFill>
                <a:effectLst/>
                <a:uLnTx/>
                <a:uFillTx/>
                <a:latin typeface="Tahoma"/>
                <a:ea typeface="Roboto Medium" panose="02000000000000000000" pitchFamily="2" charset="0"/>
                <a:cs typeface="Montserrat" charset="0"/>
              </a:endParaRPr>
            </a:p>
          </p:txBody>
        </p:sp>
        <p:sp>
          <p:nvSpPr>
            <p:cNvPr id="95" name="Rectangle 94">
              <a:extLst>
                <a:ext uri="{FF2B5EF4-FFF2-40B4-BE49-F238E27FC236}">
                  <a16:creationId xmlns:a16="http://schemas.microsoft.com/office/drawing/2014/main" id="{F5BC9D15-32FC-614C-B7BB-4033E4206A25}"/>
                </a:ext>
              </a:extLst>
            </p:cNvPr>
            <p:cNvSpPr/>
            <p:nvPr/>
          </p:nvSpPr>
          <p:spPr>
            <a:xfrm>
              <a:off x="5224591" y="4911185"/>
              <a:ext cx="1832793" cy="338554"/>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mn-MN" sz="1600" b="1" dirty="0">
                  <a:solidFill>
                    <a:srgbClr val="FFFFFF"/>
                  </a:solidFill>
                  <a:latin typeface="Tahoma"/>
                  <a:ea typeface="Roboto Medium" panose="02000000000000000000" pitchFamily="2" charset="0"/>
                  <a:cs typeface="Montserrat" charset="0"/>
                </a:rPr>
                <a:t>ХААНА</a:t>
              </a:r>
              <a:endParaRPr kumimoji="0" lang="en-US" sz="4800" b="1" i="0" u="none" strike="noStrike" kern="1200" cap="none" spc="0" normalizeH="0" baseline="0" noProof="0" dirty="0">
                <a:ln>
                  <a:noFill/>
                </a:ln>
                <a:solidFill>
                  <a:srgbClr val="FFFFFF"/>
                </a:solidFill>
                <a:effectLst/>
                <a:uLnTx/>
                <a:uFillTx/>
                <a:latin typeface="Tahoma"/>
                <a:ea typeface="Roboto Medium" panose="02000000000000000000" pitchFamily="2" charset="0"/>
                <a:cs typeface="Montserrat" charset="0"/>
              </a:endParaRPr>
            </a:p>
          </p:txBody>
        </p:sp>
        <p:sp>
          <p:nvSpPr>
            <p:cNvPr id="96" name="Rectangle 95">
              <a:extLst>
                <a:ext uri="{FF2B5EF4-FFF2-40B4-BE49-F238E27FC236}">
                  <a16:creationId xmlns:a16="http://schemas.microsoft.com/office/drawing/2014/main" id="{71A6B63D-B9D2-E851-F9B0-EA1D1C82A7C1}"/>
                </a:ext>
              </a:extLst>
            </p:cNvPr>
            <p:cNvSpPr/>
            <p:nvPr/>
          </p:nvSpPr>
          <p:spPr>
            <a:xfrm>
              <a:off x="4453559" y="5800574"/>
              <a:ext cx="2265667" cy="338554"/>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mn-MN" sz="1600" b="1" i="0" u="none" strike="noStrike" kern="1200" cap="none" spc="0" normalizeH="0" baseline="0" noProof="0" dirty="0">
                  <a:ln>
                    <a:noFill/>
                  </a:ln>
                  <a:solidFill>
                    <a:srgbClr val="FFFFFF"/>
                  </a:solidFill>
                  <a:effectLst/>
                  <a:uLnTx/>
                  <a:uFillTx/>
                  <a:latin typeface="Tahoma"/>
                  <a:ea typeface="Roboto Medium" panose="02000000000000000000" pitchFamily="2" charset="0"/>
                  <a:cs typeface="Montserrat" charset="0"/>
                </a:rPr>
                <a:t>ХЭР ХЭМЖЭЭНД</a:t>
              </a:r>
              <a:endParaRPr kumimoji="0" lang="en-US" sz="4800" b="1" i="0" u="none" strike="noStrike" kern="1200" cap="none" spc="0" normalizeH="0" baseline="0" noProof="0" dirty="0">
                <a:ln>
                  <a:noFill/>
                </a:ln>
                <a:solidFill>
                  <a:srgbClr val="FFFFFF"/>
                </a:solidFill>
                <a:effectLst/>
                <a:uLnTx/>
                <a:uFillTx/>
                <a:latin typeface="Tahoma"/>
                <a:ea typeface="Roboto Medium" panose="02000000000000000000" pitchFamily="2" charset="0"/>
                <a:cs typeface="Montserrat" charset="0"/>
              </a:endParaRPr>
            </a:p>
          </p:txBody>
        </p:sp>
        <p:sp>
          <p:nvSpPr>
            <p:cNvPr id="98" name="Forma libre 395">
              <a:extLst>
                <a:ext uri="{FF2B5EF4-FFF2-40B4-BE49-F238E27FC236}">
                  <a16:creationId xmlns:a16="http://schemas.microsoft.com/office/drawing/2014/main" id="{504F1390-1EDA-4E11-8E11-66C2C5BD7D10}"/>
                </a:ext>
              </a:extLst>
            </p:cNvPr>
            <p:cNvSpPr/>
            <p:nvPr/>
          </p:nvSpPr>
          <p:spPr>
            <a:xfrm>
              <a:off x="2556509" y="3767420"/>
              <a:ext cx="701001" cy="900067"/>
            </a:xfrm>
            <a:custGeom>
              <a:avLst/>
              <a:gdLst>
                <a:gd name="connsiteX0" fmla="*/ 399527 w 449650"/>
                <a:gd name="connsiteY0" fmla="*/ 50708 h 599144"/>
                <a:gd name="connsiteX1" fmla="*/ 347400 w 449650"/>
                <a:gd name="connsiteY1" fmla="*/ 50708 h 599144"/>
                <a:gd name="connsiteX2" fmla="*/ 312322 w 449650"/>
                <a:gd name="connsiteY2" fmla="*/ 25792 h 599144"/>
                <a:gd name="connsiteX3" fmla="*/ 274692 w 449650"/>
                <a:gd name="connsiteY3" fmla="*/ 25792 h 599144"/>
                <a:gd name="connsiteX4" fmla="*/ 225117 w 449650"/>
                <a:gd name="connsiteY4" fmla="*/ 876 h 599144"/>
                <a:gd name="connsiteX5" fmla="*/ 175541 w 449650"/>
                <a:gd name="connsiteY5" fmla="*/ 25791 h 599144"/>
                <a:gd name="connsiteX6" fmla="*/ 137912 w 449650"/>
                <a:gd name="connsiteY6" fmla="*/ 25791 h 599144"/>
                <a:gd name="connsiteX7" fmla="*/ 102833 w 449650"/>
                <a:gd name="connsiteY7" fmla="*/ 50707 h 599144"/>
                <a:gd name="connsiteX8" fmla="*/ 50708 w 449650"/>
                <a:gd name="connsiteY8" fmla="*/ 50707 h 599144"/>
                <a:gd name="connsiteX9" fmla="*/ 876 w 449650"/>
                <a:gd name="connsiteY9" fmla="*/ 100538 h 599144"/>
                <a:gd name="connsiteX10" fmla="*/ 876 w 449650"/>
                <a:gd name="connsiteY10" fmla="*/ 549021 h 599144"/>
                <a:gd name="connsiteX11" fmla="*/ 50708 w 449650"/>
                <a:gd name="connsiteY11" fmla="*/ 598853 h 599144"/>
                <a:gd name="connsiteX12" fmla="*/ 399528 w 449650"/>
                <a:gd name="connsiteY12" fmla="*/ 598853 h 599144"/>
                <a:gd name="connsiteX13" fmla="*/ 449359 w 449650"/>
                <a:gd name="connsiteY13" fmla="*/ 549021 h 599144"/>
                <a:gd name="connsiteX14" fmla="*/ 449359 w 449650"/>
                <a:gd name="connsiteY14" fmla="*/ 100538 h 599144"/>
                <a:gd name="connsiteX15" fmla="*/ 399527 w 449650"/>
                <a:gd name="connsiteY15" fmla="*/ 50708 h 599144"/>
                <a:gd name="connsiteX16" fmla="*/ 112997 w 449650"/>
                <a:gd name="connsiteY16" fmla="*/ 524106 h 599144"/>
                <a:gd name="connsiteX17" fmla="*/ 75623 w 449650"/>
                <a:gd name="connsiteY17" fmla="*/ 486732 h 599144"/>
                <a:gd name="connsiteX18" fmla="*/ 112997 w 449650"/>
                <a:gd name="connsiteY18" fmla="*/ 449359 h 599144"/>
                <a:gd name="connsiteX19" fmla="*/ 150370 w 449650"/>
                <a:gd name="connsiteY19" fmla="*/ 486732 h 599144"/>
                <a:gd name="connsiteX20" fmla="*/ 112997 w 449650"/>
                <a:gd name="connsiteY20" fmla="*/ 524106 h 599144"/>
                <a:gd name="connsiteX21" fmla="*/ 112997 w 449650"/>
                <a:gd name="connsiteY21" fmla="*/ 399527 h 599144"/>
                <a:gd name="connsiteX22" fmla="*/ 75623 w 449650"/>
                <a:gd name="connsiteY22" fmla="*/ 362153 h 599144"/>
                <a:gd name="connsiteX23" fmla="*/ 112997 w 449650"/>
                <a:gd name="connsiteY23" fmla="*/ 324780 h 599144"/>
                <a:gd name="connsiteX24" fmla="*/ 150370 w 449650"/>
                <a:gd name="connsiteY24" fmla="*/ 362153 h 599144"/>
                <a:gd name="connsiteX25" fmla="*/ 112997 w 449650"/>
                <a:gd name="connsiteY25" fmla="*/ 399527 h 599144"/>
                <a:gd name="connsiteX26" fmla="*/ 112997 w 449650"/>
                <a:gd name="connsiteY26" fmla="*/ 274949 h 599144"/>
                <a:gd name="connsiteX27" fmla="*/ 75623 w 449650"/>
                <a:gd name="connsiteY27" fmla="*/ 237576 h 599144"/>
                <a:gd name="connsiteX28" fmla="*/ 112997 w 449650"/>
                <a:gd name="connsiteY28" fmla="*/ 200202 h 599144"/>
                <a:gd name="connsiteX29" fmla="*/ 150370 w 449650"/>
                <a:gd name="connsiteY29" fmla="*/ 237576 h 599144"/>
                <a:gd name="connsiteX30" fmla="*/ 112997 w 449650"/>
                <a:gd name="connsiteY30" fmla="*/ 274949 h 599144"/>
                <a:gd name="connsiteX31" fmla="*/ 125455 w 449650"/>
                <a:gd name="connsiteY31" fmla="*/ 75623 h 599144"/>
                <a:gd name="connsiteX32" fmla="*/ 125455 w 449650"/>
                <a:gd name="connsiteY32" fmla="*/ 63165 h 599144"/>
                <a:gd name="connsiteX33" fmla="*/ 137913 w 449650"/>
                <a:gd name="connsiteY33" fmla="*/ 50707 h 599144"/>
                <a:gd name="connsiteX34" fmla="*/ 182197 w 449650"/>
                <a:gd name="connsiteY34" fmla="*/ 50707 h 599144"/>
                <a:gd name="connsiteX35" fmla="*/ 192964 w 449650"/>
                <a:gd name="connsiteY35" fmla="*/ 44514 h 599144"/>
                <a:gd name="connsiteX36" fmla="*/ 225119 w 449650"/>
                <a:gd name="connsiteY36" fmla="*/ 25791 h 599144"/>
                <a:gd name="connsiteX37" fmla="*/ 257273 w 449650"/>
                <a:gd name="connsiteY37" fmla="*/ 44514 h 599144"/>
                <a:gd name="connsiteX38" fmla="*/ 268040 w 449650"/>
                <a:gd name="connsiteY38" fmla="*/ 50707 h 599144"/>
                <a:gd name="connsiteX39" fmla="*/ 312324 w 449650"/>
                <a:gd name="connsiteY39" fmla="*/ 50707 h 599144"/>
                <a:gd name="connsiteX40" fmla="*/ 324782 w 449650"/>
                <a:gd name="connsiteY40" fmla="*/ 63165 h 599144"/>
                <a:gd name="connsiteX41" fmla="*/ 324782 w 449650"/>
                <a:gd name="connsiteY41" fmla="*/ 75623 h 599144"/>
                <a:gd name="connsiteX42" fmla="*/ 299867 w 449650"/>
                <a:gd name="connsiteY42" fmla="*/ 100538 h 599144"/>
                <a:gd name="connsiteX43" fmla="*/ 150370 w 449650"/>
                <a:gd name="connsiteY43" fmla="*/ 100538 h 599144"/>
                <a:gd name="connsiteX44" fmla="*/ 125455 w 449650"/>
                <a:gd name="connsiteY44" fmla="*/ 75623 h 599144"/>
                <a:gd name="connsiteX45" fmla="*/ 362153 w 449650"/>
                <a:gd name="connsiteY45" fmla="*/ 499191 h 599144"/>
                <a:gd name="connsiteX46" fmla="*/ 212659 w 449650"/>
                <a:gd name="connsiteY46" fmla="*/ 499191 h 599144"/>
                <a:gd name="connsiteX47" fmla="*/ 200201 w 449650"/>
                <a:gd name="connsiteY47" fmla="*/ 486732 h 599144"/>
                <a:gd name="connsiteX48" fmla="*/ 212659 w 449650"/>
                <a:gd name="connsiteY48" fmla="*/ 474274 h 599144"/>
                <a:gd name="connsiteX49" fmla="*/ 362153 w 449650"/>
                <a:gd name="connsiteY49" fmla="*/ 474274 h 599144"/>
                <a:gd name="connsiteX50" fmla="*/ 374612 w 449650"/>
                <a:gd name="connsiteY50" fmla="*/ 486732 h 599144"/>
                <a:gd name="connsiteX51" fmla="*/ 362153 w 449650"/>
                <a:gd name="connsiteY51" fmla="*/ 499191 h 599144"/>
                <a:gd name="connsiteX52" fmla="*/ 362153 w 449650"/>
                <a:gd name="connsiteY52" fmla="*/ 374612 h 599144"/>
                <a:gd name="connsiteX53" fmla="*/ 212659 w 449650"/>
                <a:gd name="connsiteY53" fmla="*/ 374612 h 599144"/>
                <a:gd name="connsiteX54" fmla="*/ 200201 w 449650"/>
                <a:gd name="connsiteY54" fmla="*/ 362153 h 599144"/>
                <a:gd name="connsiteX55" fmla="*/ 212659 w 449650"/>
                <a:gd name="connsiteY55" fmla="*/ 349695 h 599144"/>
                <a:gd name="connsiteX56" fmla="*/ 362153 w 449650"/>
                <a:gd name="connsiteY56" fmla="*/ 349695 h 599144"/>
                <a:gd name="connsiteX57" fmla="*/ 374612 w 449650"/>
                <a:gd name="connsiteY57" fmla="*/ 362153 h 599144"/>
                <a:gd name="connsiteX58" fmla="*/ 362153 w 449650"/>
                <a:gd name="connsiteY58" fmla="*/ 374612 h 599144"/>
                <a:gd name="connsiteX59" fmla="*/ 362153 w 449650"/>
                <a:gd name="connsiteY59" fmla="*/ 250033 h 599144"/>
                <a:gd name="connsiteX60" fmla="*/ 212659 w 449650"/>
                <a:gd name="connsiteY60" fmla="*/ 250033 h 599144"/>
                <a:gd name="connsiteX61" fmla="*/ 200201 w 449650"/>
                <a:gd name="connsiteY61" fmla="*/ 237574 h 599144"/>
                <a:gd name="connsiteX62" fmla="*/ 212659 w 449650"/>
                <a:gd name="connsiteY62" fmla="*/ 225116 h 599144"/>
                <a:gd name="connsiteX63" fmla="*/ 362153 w 449650"/>
                <a:gd name="connsiteY63" fmla="*/ 225116 h 599144"/>
                <a:gd name="connsiteX64" fmla="*/ 374612 w 449650"/>
                <a:gd name="connsiteY64" fmla="*/ 237574 h 599144"/>
                <a:gd name="connsiteX65" fmla="*/ 362153 w 449650"/>
                <a:gd name="connsiteY65" fmla="*/ 250033 h 59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49650" h="599144">
                  <a:moveTo>
                    <a:pt x="399527" y="50708"/>
                  </a:moveTo>
                  <a:lnTo>
                    <a:pt x="347400" y="50708"/>
                  </a:lnTo>
                  <a:cubicBezTo>
                    <a:pt x="342240" y="36238"/>
                    <a:pt x="328542" y="25792"/>
                    <a:pt x="312322" y="25792"/>
                  </a:cubicBezTo>
                  <a:lnTo>
                    <a:pt x="274692" y="25792"/>
                  </a:lnTo>
                  <a:cubicBezTo>
                    <a:pt x="262990" y="10268"/>
                    <a:pt x="244595" y="876"/>
                    <a:pt x="225117" y="876"/>
                  </a:cubicBezTo>
                  <a:cubicBezTo>
                    <a:pt x="205640" y="876"/>
                    <a:pt x="187245" y="10268"/>
                    <a:pt x="175541" y="25791"/>
                  </a:cubicBezTo>
                  <a:lnTo>
                    <a:pt x="137912" y="25791"/>
                  </a:lnTo>
                  <a:cubicBezTo>
                    <a:pt x="121692" y="25791"/>
                    <a:pt x="107993" y="36237"/>
                    <a:pt x="102833" y="50707"/>
                  </a:cubicBezTo>
                  <a:lnTo>
                    <a:pt x="50708" y="50707"/>
                  </a:lnTo>
                  <a:cubicBezTo>
                    <a:pt x="23224" y="50708"/>
                    <a:pt x="876" y="73056"/>
                    <a:pt x="876" y="100538"/>
                  </a:cubicBezTo>
                  <a:lnTo>
                    <a:pt x="876" y="549021"/>
                  </a:lnTo>
                  <a:cubicBezTo>
                    <a:pt x="876" y="576505"/>
                    <a:pt x="23224" y="598853"/>
                    <a:pt x="50708" y="598853"/>
                  </a:cubicBezTo>
                  <a:lnTo>
                    <a:pt x="399528" y="598853"/>
                  </a:lnTo>
                  <a:cubicBezTo>
                    <a:pt x="427010" y="598853"/>
                    <a:pt x="449359" y="576505"/>
                    <a:pt x="449359" y="549021"/>
                  </a:cubicBezTo>
                  <a:lnTo>
                    <a:pt x="449359" y="100538"/>
                  </a:lnTo>
                  <a:cubicBezTo>
                    <a:pt x="449359" y="73056"/>
                    <a:pt x="427010" y="50708"/>
                    <a:pt x="399527" y="50708"/>
                  </a:cubicBezTo>
                  <a:close/>
                  <a:moveTo>
                    <a:pt x="112997" y="524106"/>
                  </a:moveTo>
                  <a:cubicBezTo>
                    <a:pt x="92387" y="524106"/>
                    <a:pt x="75623" y="507341"/>
                    <a:pt x="75623" y="486732"/>
                  </a:cubicBezTo>
                  <a:cubicBezTo>
                    <a:pt x="75623" y="466123"/>
                    <a:pt x="92387" y="449359"/>
                    <a:pt x="112997" y="449359"/>
                  </a:cubicBezTo>
                  <a:cubicBezTo>
                    <a:pt x="133606" y="449359"/>
                    <a:pt x="150370" y="466123"/>
                    <a:pt x="150370" y="486732"/>
                  </a:cubicBezTo>
                  <a:cubicBezTo>
                    <a:pt x="150370" y="507341"/>
                    <a:pt x="133606" y="524106"/>
                    <a:pt x="112997" y="524106"/>
                  </a:cubicBezTo>
                  <a:close/>
                  <a:moveTo>
                    <a:pt x="112997" y="399527"/>
                  </a:moveTo>
                  <a:cubicBezTo>
                    <a:pt x="92387" y="399527"/>
                    <a:pt x="75623" y="382763"/>
                    <a:pt x="75623" y="362153"/>
                  </a:cubicBezTo>
                  <a:cubicBezTo>
                    <a:pt x="75623" y="341544"/>
                    <a:pt x="92387" y="324780"/>
                    <a:pt x="112997" y="324780"/>
                  </a:cubicBezTo>
                  <a:cubicBezTo>
                    <a:pt x="133606" y="324780"/>
                    <a:pt x="150370" y="341544"/>
                    <a:pt x="150370" y="362153"/>
                  </a:cubicBezTo>
                  <a:cubicBezTo>
                    <a:pt x="150370" y="382763"/>
                    <a:pt x="133606" y="399527"/>
                    <a:pt x="112997" y="399527"/>
                  </a:cubicBezTo>
                  <a:close/>
                  <a:moveTo>
                    <a:pt x="112997" y="274949"/>
                  </a:moveTo>
                  <a:cubicBezTo>
                    <a:pt x="92387" y="274949"/>
                    <a:pt x="75623" y="258185"/>
                    <a:pt x="75623" y="237576"/>
                  </a:cubicBezTo>
                  <a:cubicBezTo>
                    <a:pt x="75623" y="216966"/>
                    <a:pt x="92387" y="200202"/>
                    <a:pt x="112997" y="200202"/>
                  </a:cubicBezTo>
                  <a:cubicBezTo>
                    <a:pt x="133606" y="200202"/>
                    <a:pt x="150370" y="216966"/>
                    <a:pt x="150370" y="237576"/>
                  </a:cubicBezTo>
                  <a:cubicBezTo>
                    <a:pt x="150370" y="258185"/>
                    <a:pt x="133606" y="274949"/>
                    <a:pt x="112997" y="274949"/>
                  </a:cubicBezTo>
                  <a:close/>
                  <a:moveTo>
                    <a:pt x="125455" y="75623"/>
                  </a:moveTo>
                  <a:lnTo>
                    <a:pt x="125455" y="63165"/>
                  </a:lnTo>
                  <a:cubicBezTo>
                    <a:pt x="125455" y="56292"/>
                    <a:pt x="131039" y="50707"/>
                    <a:pt x="137913" y="50707"/>
                  </a:cubicBezTo>
                  <a:lnTo>
                    <a:pt x="182197" y="50707"/>
                  </a:lnTo>
                  <a:cubicBezTo>
                    <a:pt x="186626" y="50707"/>
                    <a:pt x="190725" y="48346"/>
                    <a:pt x="192964" y="44514"/>
                  </a:cubicBezTo>
                  <a:cubicBezTo>
                    <a:pt x="199790" y="32786"/>
                    <a:pt x="211809" y="25791"/>
                    <a:pt x="225119" y="25791"/>
                  </a:cubicBezTo>
                  <a:cubicBezTo>
                    <a:pt x="238428" y="25791"/>
                    <a:pt x="250448" y="32787"/>
                    <a:pt x="257273" y="44514"/>
                  </a:cubicBezTo>
                  <a:cubicBezTo>
                    <a:pt x="259512" y="48346"/>
                    <a:pt x="263611" y="50707"/>
                    <a:pt x="268040" y="50707"/>
                  </a:cubicBezTo>
                  <a:lnTo>
                    <a:pt x="312324" y="50707"/>
                  </a:lnTo>
                  <a:cubicBezTo>
                    <a:pt x="319197" y="50707"/>
                    <a:pt x="324782" y="56290"/>
                    <a:pt x="324782" y="63165"/>
                  </a:cubicBezTo>
                  <a:lnTo>
                    <a:pt x="324782" y="75623"/>
                  </a:lnTo>
                  <a:cubicBezTo>
                    <a:pt x="324782" y="89358"/>
                    <a:pt x="313602" y="100538"/>
                    <a:pt x="299867" y="100538"/>
                  </a:cubicBezTo>
                  <a:lnTo>
                    <a:pt x="150370" y="100538"/>
                  </a:lnTo>
                  <a:cubicBezTo>
                    <a:pt x="136635" y="100538"/>
                    <a:pt x="125455" y="89358"/>
                    <a:pt x="125455" y="75623"/>
                  </a:cubicBezTo>
                  <a:close/>
                  <a:moveTo>
                    <a:pt x="362153" y="499191"/>
                  </a:moveTo>
                  <a:lnTo>
                    <a:pt x="212659" y="499191"/>
                  </a:lnTo>
                  <a:cubicBezTo>
                    <a:pt x="205773" y="499191"/>
                    <a:pt x="200201" y="493618"/>
                    <a:pt x="200201" y="486732"/>
                  </a:cubicBezTo>
                  <a:cubicBezTo>
                    <a:pt x="200201" y="479846"/>
                    <a:pt x="205773" y="474274"/>
                    <a:pt x="212659" y="474274"/>
                  </a:cubicBezTo>
                  <a:lnTo>
                    <a:pt x="362153" y="474274"/>
                  </a:lnTo>
                  <a:cubicBezTo>
                    <a:pt x="369039" y="474274"/>
                    <a:pt x="374612" y="479846"/>
                    <a:pt x="374612" y="486732"/>
                  </a:cubicBezTo>
                  <a:cubicBezTo>
                    <a:pt x="374612" y="493618"/>
                    <a:pt x="369039" y="499191"/>
                    <a:pt x="362153" y="499191"/>
                  </a:cubicBezTo>
                  <a:close/>
                  <a:moveTo>
                    <a:pt x="362153" y="374612"/>
                  </a:moveTo>
                  <a:lnTo>
                    <a:pt x="212659" y="374612"/>
                  </a:lnTo>
                  <a:cubicBezTo>
                    <a:pt x="205773" y="374612"/>
                    <a:pt x="200201" y="369039"/>
                    <a:pt x="200201" y="362153"/>
                  </a:cubicBezTo>
                  <a:cubicBezTo>
                    <a:pt x="200201" y="355267"/>
                    <a:pt x="205773" y="349695"/>
                    <a:pt x="212659" y="349695"/>
                  </a:cubicBezTo>
                  <a:lnTo>
                    <a:pt x="362153" y="349695"/>
                  </a:lnTo>
                  <a:cubicBezTo>
                    <a:pt x="369039" y="349695"/>
                    <a:pt x="374612" y="355267"/>
                    <a:pt x="374612" y="362153"/>
                  </a:cubicBezTo>
                  <a:cubicBezTo>
                    <a:pt x="374612" y="369039"/>
                    <a:pt x="369039" y="374612"/>
                    <a:pt x="362153" y="374612"/>
                  </a:cubicBezTo>
                  <a:close/>
                  <a:moveTo>
                    <a:pt x="362153" y="250033"/>
                  </a:moveTo>
                  <a:lnTo>
                    <a:pt x="212659" y="250033"/>
                  </a:lnTo>
                  <a:cubicBezTo>
                    <a:pt x="205773" y="250033"/>
                    <a:pt x="200201" y="244460"/>
                    <a:pt x="200201" y="237574"/>
                  </a:cubicBezTo>
                  <a:cubicBezTo>
                    <a:pt x="200201" y="230688"/>
                    <a:pt x="205773" y="225116"/>
                    <a:pt x="212659" y="225116"/>
                  </a:cubicBezTo>
                  <a:lnTo>
                    <a:pt x="362153" y="225116"/>
                  </a:lnTo>
                  <a:cubicBezTo>
                    <a:pt x="369039" y="225116"/>
                    <a:pt x="374612" y="230688"/>
                    <a:pt x="374612" y="237574"/>
                  </a:cubicBezTo>
                  <a:cubicBezTo>
                    <a:pt x="374612" y="244462"/>
                    <a:pt x="369039" y="250033"/>
                    <a:pt x="362153" y="250033"/>
                  </a:cubicBezTo>
                  <a:close/>
                </a:path>
              </a:pathLst>
            </a:custGeom>
            <a:solidFill>
              <a:schemeClr val="bg2"/>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MX" sz="900" b="0" i="0" u="none" strike="noStrike" kern="1200" cap="none" spc="0" normalizeH="0" baseline="0" noProof="0" dirty="0">
                <a:ln>
                  <a:noFill/>
                </a:ln>
                <a:solidFill>
                  <a:srgbClr val="000000"/>
                </a:solidFill>
                <a:effectLst/>
                <a:uLnTx/>
                <a:uFillTx/>
                <a:latin typeface="Tahoma"/>
                <a:ea typeface="+mn-ea"/>
                <a:cs typeface="+mn-cs"/>
              </a:endParaRPr>
            </a:p>
          </p:txBody>
        </p:sp>
      </p:grpSp>
    </p:spTree>
    <p:extLst>
      <p:ext uri="{BB962C8B-B14F-4D97-AF65-F5344CB8AC3E}">
        <p14:creationId xmlns:p14="http://schemas.microsoft.com/office/powerpoint/2010/main" val="35583731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CEAC3-16CC-8A1B-A918-A9DABFF3466A}"/>
              </a:ext>
            </a:extLst>
          </p:cNvPr>
          <p:cNvSpPr>
            <a:spLocks noGrp="1"/>
          </p:cNvSpPr>
          <p:nvPr>
            <p:ph type="title"/>
          </p:nvPr>
        </p:nvSpPr>
        <p:spPr/>
        <p:txBody>
          <a:bodyPr>
            <a:normAutofit fontScale="90000"/>
          </a:bodyPr>
          <a:lstStyle/>
          <a:p>
            <a:r>
              <a:rPr lang="mn-MN" dirty="0"/>
              <a:t>УЛААНБААТАР ХОТЫН ХҮНСНИЙ ХАЯГДЛЫГ ДАХИН БОЛОВСРУУЛАХ ТӨСӨЛ НЬ ТӨВЛӨРСӨН ХОГНЫ ЦЭГЭЭС ЯЛГАРАХ МЕТАНЫ ХИЙГ БАГАСГАНА </a:t>
            </a:r>
            <a:endParaRPr lang="en-GB" dirty="0"/>
          </a:p>
        </p:txBody>
      </p:sp>
      <p:graphicFrame>
        <p:nvGraphicFramePr>
          <p:cNvPr id="5" name="Content Placeholder 4">
            <a:extLst>
              <a:ext uri="{FF2B5EF4-FFF2-40B4-BE49-F238E27FC236}">
                <a16:creationId xmlns:a16="http://schemas.microsoft.com/office/drawing/2014/main" id="{3257A577-4670-EE23-B140-61C3C74524C3}"/>
              </a:ext>
            </a:extLst>
          </p:cNvPr>
          <p:cNvGraphicFramePr>
            <a:graphicFrameLocks noGrp="1"/>
          </p:cNvGraphicFramePr>
          <p:nvPr>
            <p:ph idx="1"/>
            <p:extLst>
              <p:ext uri="{D42A27DB-BD31-4B8C-83A1-F6EECF244321}">
                <p14:modId xmlns:p14="http://schemas.microsoft.com/office/powerpoint/2010/main" val="579046960"/>
              </p:ext>
            </p:extLst>
          </p:nvPr>
        </p:nvGraphicFramePr>
        <p:xfrm>
          <a:off x="596900" y="1692000"/>
          <a:ext cx="10463881" cy="3625436"/>
        </p:xfrm>
        <a:graphic>
          <a:graphicData uri="http://schemas.openxmlformats.org/drawingml/2006/table">
            <a:tbl>
              <a:tblPr firstRow="1" lastRow="1" bandRow="1">
                <a:tableStyleId>{00A15C55-8517-42AA-B614-E9B94910E393}</a:tableStyleId>
              </a:tblPr>
              <a:tblGrid>
                <a:gridCol w="4857333">
                  <a:extLst>
                    <a:ext uri="{9D8B030D-6E8A-4147-A177-3AD203B41FA5}">
                      <a16:colId xmlns:a16="http://schemas.microsoft.com/office/drawing/2014/main" val="3589396610"/>
                    </a:ext>
                  </a:extLst>
                </a:gridCol>
                <a:gridCol w="1845828">
                  <a:extLst>
                    <a:ext uri="{9D8B030D-6E8A-4147-A177-3AD203B41FA5}">
                      <a16:colId xmlns:a16="http://schemas.microsoft.com/office/drawing/2014/main" val="2115050294"/>
                    </a:ext>
                  </a:extLst>
                </a:gridCol>
                <a:gridCol w="1764211">
                  <a:extLst>
                    <a:ext uri="{9D8B030D-6E8A-4147-A177-3AD203B41FA5}">
                      <a16:colId xmlns:a16="http://schemas.microsoft.com/office/drawing/2014/main" val="2083394668"/>
                    </a:ext>
                  </a:extLst>
                </a:gridCol>
                <a:gridCol w="1996509">
                  <a:extLst>
                    <a:ext uri="{9D8B030D-6E8A-4147-A177-3AD203B41FA5}">
                      <a16:colId xmlns:a16="http://schemas.microsoft.com/office/drawing/2014/main" val="2934735023"/>
                    </a:ext>
                  </a:extLst>
                </a:gridCol>
              </a:tblGrid>
              <a:tr h="1118931">
                <a:tc>
                  <a:txBody>
                    <a:bodyPr/>
                    <a:lstStyle/>
                    <a:p>
                      <a:endParaRPr lang="en-GB" sz="1800">
                        <a:effectLst/>
                        <a:latin typeface="Calibri" panose="020F0502020204030204" pitchFamily="34" charset="0"/>
                        <a:cs typeface="Mongolian Baiti" panose="03000500000000000000" pitchFamily="66" charset="0"/>
                      </a:endParaRPr>
                    </a:p>
                  </a:txBody>
                  <a:tcPr marL="68580" marR="68580" marT="0" marB="0"/>
                </a:tc>
                <a:tc>
                  <a:txBody>
                    <a:bodyPr/>
                    <a:lstStyle/>
                    <a:p>
                      <a:pPr algn="ctr">
                        <a:lnSpc>
                          <a:spcPct val="107000"/>
                        </a:lnSpc>
                        <a:spcAft>
                          <a:spcPts val="800"/>
                        </a:spcAft>
                      </a:pPr>
                      <a:r>
                        <a:rPr lang="mn-MN" sz="1200" dirty="0">
                          <a:effectLst/>
                        </a:rPr>
                        <a:t>ЗАЙЛСХИЙЖ ЧАДАХ ХҮНСНИЙ ХАЯГДЛЫН ХЭМЖЭЭ</a:t>
                      </a:r>
                      <a:br>
                        <a:rPr lang="en-GB" sz="1200" dirty="0">
                          <a:effectLst/>
                        </a:rPr>
                      </a:br>
                      <a:r>
                        <a:rPr lang="en-GB" sz="1200" dirty="0">
                          <a:effectLst/>
                        </a:rPr>
                        <a:t>(</a:t>
                      </a:r>
                      <a:r>
                        <a:rPr lang="mn-MN" sz="1200" dirty="0">
                          <a:effectLst/>
                        </a:rPr>
                        <a:t>тонн</a:t>
                      </a:r>
                      <a:r>
                        <a:rPr lang="en-GB" sz="1200" dirty="0">
                          <a:effectLst/>
                        </a:rPr>
                        <a:t>/</a:t>
                      </a:r>
                      <a:r>
                        <a:rPr lang="mn-MN" sz="1200" dirty="0">
                          <a:effectLst/>
                        </a:rPr>
                        <a:t>жилд</a:t>
                      </a:r>
                      <a:r>
                        <a:rPr lang="en-GB" sz="1200" dirty="0">
                          <a:effectLst/>
                        </a:rPr>
                        <a:t>)</a:t>
                      </a:r>
                      <a:endParaRPr lang="en-GB" sz="12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mn-MN" sz="1200" dirty="0">
                          <a:effectLst/>
                        </a:rPr>
                        <a:t>ЗАЙЛСХИЙЖ ЧАДАХ</a:t>
                      </a:r>
                      <a:r>
                        <a:rPr lang="en-GB" sz="1200" dirty="0">
                          <a:effectLst/>
                        </a:rPr>
                        <a:t> </a:t>
                      </a:r>
                      <a:r>
                        <a:rPr lang="de-DE" sz="1200" dirty="0">
                          <a:effectLst/>
                        </a:rPr>
                        <a:t>M</a:t>
                      </a:r>
                      <a:r>
                        <a:rPr lang="mn-MN" sz="1200" dirty="0">
                          <a:effectLst/>
                        </a:rPr>
                        <a:t>ЕТАН буюу </a:t>
                      </a:r>
                      <a:r>
                        <a:rPr lang="en-GB" sz="1200" dirty="0">
                          <a:effectLst/>
                        </a:rPr>
                        <a:t>CH</a:t>
                      </a:r>
                      <a:r>
                        <a:rPr lang="en-GB" sz="1200" baseline="-25000" dirty="0">
                          <a:effectLst/>
                        </a:rPr>
                        <a:t>4</a:t>
                      </a:r>
                      <a:br>
                        <a:rPr lang="en-GB" sz="1200" dirty="0">
                          <a:effectLst/>
                        </a:rPr>
                      </a:br>
                      <a:r>
                        <a:rPr lang="en-GB" sz="1200" dirty="0">
                          <a:effectLst/>
                        </a:rPr>
                        <a:t>(CO</a:t>
                      </a:r>
                      <a:r>
                        <a:rPr lang="en-GB" sz="1200" baseline="-25000" dirty="0">
                          <a:effectLst/>
                        </a:rPr>
                        <a:t>2</a:t>
                      </a:r>
                      <a:r>
                        <a:rPr lang="mn-MN" sz="1200" baseline="-25000" dirty="0">
                          <a:effectLst/>
                        </a:rPr>
                        <a:t> </a:t>
                      </a:r>
                      <a:r>
                        <a:rPr lang="en-GB" sz="1200" dirty="0">
                          <a:effectLst/>
                        </a:rPr>
                        <a:t>–</a:t>
                      </a:r>
                      <a:r>
                        <a:rPr lang="mn-MN" sz="1200" dirty="0">
                          <a:effectLst/>
                        </a:rPr>
                        <a:t>тонн</a:t>
                      </a:r>
                      <a:r>
                        <a:rPr lang="en-GB" sz="1200" dirty="0">
                          <a:effectLst/>
                        </a:rPr>
                        <a:t>/</a:t>
                      </a:r>
                      <a:r>
                        <a:rPr lang="mn-MN" sz="1200" dirty="0">
                          <a:effectLst/>
                        </a:rPr>
                        <a:t>жилд</a:t>
                      </a:r>
                      <a:r>
                        <a:rPr lang="en-GB" sz="1200" dirty="0">
                          <a:effectLst/>
                        </a:rPr>
                        <a:t>)</a:t>
                      </a:r>
                      <a:endParaRPr lang="en-GB" sz="12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mn-MN" sz="1200" dirty="0">
                          <a:effectLst/>
                        </a:rPr>
                        <a:t>ЗАЙЛСХИЙЖ ЧАДАХ ХҮЛЭМЖИЙН ХИЙН ӨРТӨГ </a:t>
                      </a:r>
                      <a:r>
                        <a:rPr lang="en-GB" sz="1200" dirty="0">
                          <a:effectLst/>
                        </a:rPr>
                        <a:t>(</a:t>
                      </a:r>
                      <a:r>
                        <a:rPr lang="mn-MN" sz="1200" dirty="0">
                          <a:effectLst/>
                        </a:rPr>
                        <a:t>сая төг</a:t>
                      </a:r>
                      <a:r>
                        <a:rPr lang="en-GB" sz="1200" dirty="0">
                          <a:effectLst/>
                        </a:rPr>
                        <a:t>)</a:t>
                      </a:r>
                      <a:r>
                        <a:rPr lang="en-GB" sz="1600" baseline="30000" dirty="0">
                          <a:effectLst/>
                        </a:rPr>
                        <a:t>a</a:t>
                      </a:r>
                      <a:endParaRPr lang="en-GB" sz="16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extLst>
                  <a:ext uri="{0D108BD9-81ED-4DB2-BD59-A6C34878D82A}">
                    <a16:rowId xmlns:a16="http://schemas.microsoft.com/office/drawing/2014/main" val="4215207776"/>
                  </a:ext>
                </a:extLst>
              </a:tr>
              <a:tr h="501301">
                <a:tc>
                  <a:txBody>
                    <a:bodyPr/>
                    <a:lstStyle/>
                    <a:p>
                      <a:pPr>
                        <a:lnSpc>
                          <a:spcPct val="107000"/>
                        </a:lnSpc>
                        <a:spcAft>
                          <a:spcPts val="800"/>
                        </a:spcAft>
                      </a:pPr>
                      <a:r>
                        <a:rPr lang="mn-MN" sz="1600" dirty="0">
                          <a:effectLst/>
                          <a:latin typeface="+mj-lt"/>
                          <a:ea typeface="Calibri" panose="020F0502020204030204" pitchFamily="34" charset="0"/>
                          <a:cs typeface="Mongolian Baiti" panose="03000500000000000000" pitchFamily="66" charset="0"/>
                        </a:rPr>
                        <a:t>Жижиг түвшинд, өрхийн хэмжээнд</a:t>
                      </a:r>
                      <a:endParaRPr lang="en-GB" sz="1600" dirty="0">
                        <a:effectLst/>
                        <a:latin typeface="+mj-lt"/>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dirty="0">
                          <a:effectLst/>
                        </a:rPr>
                        <a:t>11</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a:effectLst/>
                        </a:rPr>
                        <a:t>33</a:t>
                      </a:r>
                      <a:endParaRPr lang="en-GB" sz="180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dirty="0">
                          <a:effectLst/>
                        </a:rPr>
                        <a:t>8</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extLst>
                  <a:ext uri="{0D108BD9-81ED-4DB2-BD59-A6C34878D82A}">
                    <a16:rowId xmlns:a16="http://schemas.microsoft.com/office/drawing/2014/main" val="247077353"/>
                  </a:ext>
                </a:extLst>
              </a:tr>
              <a:tr h="501301">
                <a:tc>
                  <a:txBody>
                    <a:bodyPr/>
                    <a:lstStyle/>
                    <a:p>
                      <a:pPr>
                        <a:lnSpc>
                          <a:spcPct val="107000"/>
                        </a:lnSpc>
                        <a:spcAft>
                          <a:spcPts val="800"/>
                        </a:spcAft>
                      </a:pPr>
                      <a:r>
                        <a:rPr lang="mn-MN" sz="1600" dirty="0">
                          <a:effectLst/>
                          <a:latin typeface="+mj-lt"/>
                        </a:rPr>
                        <a:t>Дунд түвшинд – Хүнсний хаягдлыг хатаах замаар</a:t>
                      </a:r>
                      <a:endParaRPr lang="en-GB" sz="1600" dirty="0">
                        <a:effectLst/>
                        <a:latin typeface="+mj-lt"/>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a:effectLst/>
                        </a:rPr>
                        <a:t>76</a:t>
                      </a:r>
                      <a:endParaRPr lang="en-GB" sz="180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a:effectLst/>
                        </a:rPr>
                        <a:t>228</a:t>
                      </a:r>
                      <a:endParaRPr lang="en-GB" sz="180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dirty="0">
                          <a:effectLst/>
                        </a:rPr>
                        <a:t>58</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extLst>
                  <a:ext uri="{0D108BD9-81ED-4DB2-BD59-A6C34878D82A}">
                    <a16:rowId xmlns:a16="http://schemas.microsoft.com/office/drawing/2014/main" val="2253099122"/>
                  </a:ext>
                </a:extLst>
              </a:tr>
              <a:tr h="501301">
                <a:tc>
                  <a:txBody>
                    <a:bodyPr/>
                    <a:lstStyle/>
                    <a:p>
                      <a:pPr>
                        <a:lnSpc>
                          <a:spcPct val="107000"/>
                        </a:lnSpc>
                        <a:spcAft>
                          <a:spcPts val="800"/>
                        </a:spcAft>
                      </a:pPr>
                      <a:r>
                        <a:rPr lang="mn-MN" sz="1600" dirty="0">
                          <a:effectLst/>
                          <a:latin typeface="+mj-lt"/>
                        </a:rPr>
                        <a:t>Дунд түвшинд – Модулан хайрцгаар компост</a:t>
                      </a:r>
                      <a:endParaRPr lang="en-GB" sz="1600" dirty="0">
                        <a:effectLst/>
                        <a:latin typeface="+mj-lt"/>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a:effectLst/>
                        </a:rPr>
                        <a:t>129</a:t>
                      </a:r>
                      <a:endParaRPr lang="en-GB" sz="180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a:effectLst/>
                        </a:rPr>
                        <a:t>387</a:t>
                      </a:r>
                      <a:endParaRPr lang="en-GB" sz="180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dirty="0">
                          <a:effectLst/>
                        </a:rPr>
                        <a:t>98</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extLst>
                  <a:ext uri="{0D108BD9-81ED-4DB2-BD59-A6C34878D82A}">
                    <a16:rowId xmlns:a16="http://schemas.microsoft.com/office/drawing/2014/main" val="3367216090"/>
                  </a:ext>
                </a:extLst>
              </a:tr>
              <a:tr h="501301">
                <a:tc>
                  <a:txBody>
                    <a:bodyPr/>
                    <a:lstStyle/>
                    <a:p>
                      <a:pPr>
                        <a:lnSpc>
                          <a:spcPct val="107000"/>
                        </a:lnSpc>
                        <a:spcAft>
                          <a:spcPts val="800"/>
                        </a:spcAft>
                      </a:pPr>
                      <a:r>
                        <a:rPr lang="mn-MN" sz="1600" dirty="0">
                          <a:effectLst/>
                          <a:latin typeface="+mj-lt"/>
                        </a:rPr>
                        <a:t>Том түвшинд</a:t>
                      </a:r>
                      <a:endParaRPr lang="en-GB" sz="1600" dirty="0">
                        <a:effectLst/>
                        <a:latin typeface="+mj-lt"/>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a:effectLst/>
                        </a:rPr>
                        <a:t>700</a:t>
                      </a:r>
                      <a:endParaRPr lang="en-GB" sz="180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a:effectLst/>
                        </a:rPr>
                        <a:t>2,100</a:t>
                      </a:r>
                      <a:endParaRPr lang="en-GB" sz="180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dirty="0">
                          <a:effectLst/>
                        </a:rPr>
                        <a:t>531</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extLst>
                  <a:ext uri="{0D108BD9-81ED-4DB2-BD59-A6C34878D82A}">
                    <a16:rowId xmlns:a16="http://schemas.microsoft.com/office/drawing/2014/main" val="1488069419"/>
                  </a:ext>
                </a:extLst>
              </a:tr>
              <a:tr h="501301">
                <a:tc>
                  <a:txBody>
                    <a:bodyPr/>
                    <a:lstStyle/>
                    <a:p>
                      <a:pPr>
                        <a:lnSpc>
                          <a:spcPct val="107000"/>
                        </a:lnSpc>
                        <a:spcAft>
                          <a:spcPts val="800"/>
                        </a:spcAft>
                      </a:pPr>
                      <a:r>
                        <a:rPr lang="mn-MN" sz="1800" dirty="0">
                          <a:effectLst/>
                        </a:rPr>
                        <a:t>НИЙТ</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2400">
                          <a:effectLst/>
                        </a:rPr>
                        <a:t>916</a:t>
                      </a:r>
                      <a:endParaRPr lang="en-GB" sz="180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a:effectLst/>
                        </a:rPr>
                        <a:t>2,748</a:t>
                      </a:r>
                      <a:endParaRPr lang="en-GB" sz="180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2400" dirty="0">
                          <a:effectLst/>
                        </a:rPr>
                        <a:t>695</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extLst>
                  <a:ext uri="{0D108BD9-81ED-4DB2-BD59-A6C34878D82A}">
                    <a16:rowId xmlns:a16="http://schemas.microsoft.com/office/drawing/2014/main" val="3103110775"/>
                  </a:ext>
                </a:extLst>
              </a:tr>
            </a:tbl>
          </a:graphicData>
        </a:graphic>
      </p:graphicFrame>
      <p:sp>
        <p:nvSpPr>
          <p:cNvPr id="4" name="Slide Number Placeholder 3">
            <a:extLst>
              <a:ext uri="{FF2B5EF4-FFF2-40B4-BE49-F238E27FC236}">
                <a16:creationId xmlns:a16="http://schemas.microsoft.com/office/drawing/2014/main" id="{73770347-071C-7479-A939-60E7848D1CB8}"/>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22BD14A0-459B-CA46-A763-3163F186A6C2}" type="slidenum">
              <a:rPr kumimoji="0" lang="en-US" sz="1000" b="0" i="0" u="none" strike="noStrike" kern="1200" cap="none" spc="0" normalizeH="0" baseline="0" noProof="0" smtClean="0">
                <a:ln>
                  <a:noFill/>
                </a:ln>
                <a:solidFill>
                  <a:srgbClr val="000000">
                    <a:lumMod val="50000"/>
                    <a:lumOff val="50000"/>
                  </a:srgbClr>
                </a:solidFill>
                <a:effectLst/>
                <a:uLnTx/>
                <a:uFillTx/>
                <a:latin typeface="Tahoma"/>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43</a:t>
            </a:fld>
            <a:endParaRPr kumimoji="0" lang="en-US" sz="1000" b="0" i="0" u="none" strike="noStrike" kern="1200" cap="none" spc="0" normalizeH="0" baseline="0" noProof="0">
              <a:ln>
                <a:noFill/>
              </a:ln>
              <a:solidFill>
                <a:srgbClr val="000000">
                  <a:lumMod val="50000"/>
                  <a:lumOff val="50000"/>
                </a:srgbClr>
              </a:solidFill>
              <a:effectLst/>
              <a:uLnTx/>
              <a:uFillTx/>
              <a:latin typeface="Tahoma"/>
              <a:ea typeface="+mn-ea"/>
              <a:cs typeface="+mn-cs"/>
            </a:endParaRPr>
          </a:p>
        </p:txBody>
      </p:sp>
      <p:sp>
        <p:nvSpPr>
          <p:cNvPr id="7" name="TextBox 6">
            <a:extLst>
              <a:ext uri="{FF2B5EF4-FFF2-40B4-BE49-F238E27FC236}">
                <a16:creationId xmlns:a16="http://schemas.microsoft.com/office/drawing/2014/main" id="{CBA39A0D-883A-1C95-7FE6-A418DB0F59CC}"/>
              </a:ext>
            </a:extLst>
          </p:cNvPr>
          <p:cNvSpPr txBox="1"/>
          <p:nvPr/>
        </p:nvSpPr>
        <p:spPr>
          <a:xfrm>
            <a:off x="596900" y="5512200"/>
            <a:ext cx="10159332" cy="375552"/>
          </a:xfrm>
          <a:prstGeom prst="rect">
            <a:avLst/>
          </a:prstGeom>
          <a:noFill/>
        </p:spPr>
        <p:txBody>
          <a:bodyPr wrap="square">
            <a:spAutoFit/>
          </a:bodyPr>
          <a:lstStyle/>
          <a:p>
            <a:pPr marL="342900" marR="0" lvl="0" indent="-342900" algn="l" defTabSz="457200" rtl="0" eaLnBrk="1" fontAlgn="auto" latinLnBrk="0" hangingPunct="1">
              <a:lnSpc>
                <a:spcPct val="107000"/>
              </a:lnSpc>
              <a:spcBef>
                <a:spcPts val="0"/>
              </a:spcBef>
              <a:spcAft>
                <a:spcPts val="800"/>
              </a:spcAft>
              <a:buClrTx/>
              <a:buSzTx/>
              <a:buFont typeface="+mj-lt"/>
              <a:buAutoNum type="alphaLcPeriod"/>
              <a:tabLst/>
              <a:defRPr/>
            </a:pPr>
            <a:r>
              <a:rPr kumimoji="0" lang="mn-MN"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ongolian Baiti" panose="03000500000000000000" pitchFamily="66" charset="0"/>
              </a:rPr>
              <a:t> СО2-ын арилжааны өнөөгийн өртөг тонн тутамд дундчаар </a:t>
            </a: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ongolian Baiti" panose="03000500000000000000" pitchFamily="66" charset="0"/>
              </a:rPr>
              <a:t>80</a:t>
            </a:r>
            <a:r>
              <a:rPr kumimoji="0" lang="mn-MN"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ongolian Baiti" panose="03000500000000000000" pitchFamily="66" charset="0"/>
              </a:rPr>
              <a:t> ам.доллар байна</a:t>
            </a:r>
            <a:endParaRPr kumimoji="0" lang="en-GB" sz="2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ongolian Baiti" panose="03000500000000000000" pitchFamily="66" charset="0"/>
            </a:endParaRPr>
          </a:p>
        </p:txBody>
      </p:sp>
    </p:spTree>
    <p:extLst>
      <p:ext uri="{BB962C8B-B14F-4D97-AF65-F5344CB8AC3E}">
        <p14:creationId xmlns:p14="http://schemas.microsoft.com/office/powerpoint/2010/main" val="10576440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EE77F-7D7C-B784-C675-96BABF947EEE}"/>
              </a:ext>
            </a:extLst>
          </p:cNvPr>
          <p:cNvSpPr>
            <a:spLocks noGrp="1"/>
          </p:cNvSpPr>
          <p:nvPr>
            <p:ph type="title"/>
          </p:nvPr>
        </p:nvSpPr>
        <p:spPr/>
        <p:txBody>
          <a:bodyPr>
            <a:normAutofit fontScale="90000"/>
          </a:bodyPr>
          <a:lstStyle/>
          <a:p>
            <a:r>
              <a:rPr lang="mn-MN" dirty="0"/>
              <a:t>ТОМ ТҮВШИНД КОМПОСТ БОЛОВСРУУЛАХ ТУРШИЛТ</a:t>
            </a:r>
            <a:br>
              <a:rPr lang="en-GB" dirty="0"/>
            </a:br>
            <a:r>
              <a:rPr lang="mn-MN" dirty="0"/>
              <a:t>НЭГ ТЭРБУМ МОД ТАРИХ ХӨТӨЛБӨР</a:t>
            </a:r>
            <a:endParaRPr lang="en-GB" dirty="0"/>
          </a:p>
        </p:txBody>
      </p:sp>
      <p:graphicFrame>
        <p:nvGraphicFramePr>
          <p:cNvPr id="5" name="Content Placeholder 4">
            <a:extLst>
              <a:ext uri="{FF2B5EF4-FFF2-40B4-BE49-F238E27FC236}">
                <a16:creationId xmlns:a16="http://schemas.microsoft.com/office/drawing/2014/main" id="{5FF46049-4299-FE4C-360C-390662BEA38B}"/>
              </a:ext>
            </a:extLst>
          </p:cNvPr>
          <p:cNvGraphicFramePr>
            <a:graphicFrameLocks noGrp="1"/>
          </p:cNvGraphicFramePr>
          <p:nvPr>
            <p:ph idx="1"/>
            <p:extLst>
              <p:ext uri="{D42A27DB-BD31-4B8C-83A1-F6EECF244321}">
                <p14:modId xmlns:p14="http://schemas.microsoft.com/office/powerpoint/2010/main" val="519911692"/>
              </p:ext>
            </p:extLst>
          </p:nvPr>
        </p:nvGraphicFramePr>
        <p:xfrm>
          <a:off x="601579" y="1692000"/>
          <a:ext cx="10680722" cy="3870600"/>
        </p:xfrm>
        <a:graphic>
          <a:graphicData uri="http://schemas.openxmlformats.org/drawingml/2006/table">
            <a:tbl>
              <a:tblPr firstRow="1" lastRow="1" bandRow="1">
                <a:tableStyleId>{21E4AEA4-8DFA-4A89-87EB-49C32662AFE0}</a:tableStyleId>
              </a:tblPr>
              <a:tblGrid>
                <a:gridCol w="2554625">
                  <a:extLst>
                    <a:ext uri="{9D8B030D-6E8A-4147-A177-3AD203B41FA5}">
                      <a16:colId xmlns:a16="http://schemas.microsoft.com/office/drawing/2014/main" val="380984194"/>
                    </a:ext>
                  </a:extLst>
                </a:gridCol>
                <a:gridCol w="1535451">
                  <a:extLst>
                    <a:ext uri="{9D8B030D-6E8A-4147-A177-3AD203B41FA5}">
                      <a16:colId xmlns:a16="http://schemas.microsoft.com/office/drawing/2014/main" val="3656095332"/>
                    </a:ext>
                  </a:extLst>
                </a:gridCol>
                <a:gridCol w="1193705">
                  <a:extLst>
                    <a:ext uri="{9D8B030D-6E8A-4147-A177-3AD203B41FA5}">
                      <a16:colId xmlns:a16="http://schemas.microsoft.com/office/drawing/2014/main" val="1531992097"/>
                    </a:ext>
                  </a:extLst>
                </a:gridCol>
                <a:gridCol w="1877198">
                  <a:extLst>
                    <a:ext uri="{9D8B030D-6E8A-4147-A177-3AD203B41FA5}">
                      <a16:colId xmlns:a16="http://schemas.microsoft.com/office/drawing/2014/main" val="3697698810"/>
                    </a:ext>
                  </a:extLst>
                </a:gridCol>
                <a:gridCol w="1705120">
                  <a:extLst>
                    <a:ext uri="{9D8B030D-6E8A-4147-A177-3AD203B41FA5}">
                      <a16:colId xmlns:a16="http://schemas.microsoft.com/office/drawing/2014/main" val="1629042778"/>
                    </a:ext>
                  </a:extLst>
                </a:gridCol>
                <a:gridCol w="1814623">
                  <a:extLst>
                    <a:ext uri="{9D8B030D-6E8A-4147-A177-3AD203B41FA5}">
                      <a16:colId xmlns:a16="http://schemas.microsoft.com/office/drawing/2014/main" val="303283553"/>
                    </a:ext>
                  </a:extLst>
                </a:gridCol>
              </a:tblGrid>
              <a:tr h="1323279">
                <a:tc>
                  <a:txBody>
                    <a:bodyPr/>
                    <a:lstStyle/>
                    <a:p>
                      <a:pPr algn="ctr">
                        <a:lnSpc>
                          <a:spcPct val="107000"/>
                        </a:lnSpc>
                        <a:spcAft>
                          <a:spcPts val="800"/>
                        </a:spcAft>
                      </a:pPr>
                      <a:r>
                        <a:rPr lang="mn-MN" sz="1800" dirty="0">
                          <a:effectLst/>
                        </a:rPr>
                        <a:t>Компостын ашиглалт</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gridSpan="2">
                  <a:txBody>
                    <a:bodyPr/>
                    <a:lstStyle/>
                    <a:p>
                      <a:pPr algn="ctr">
                        <a:lnSpc>
                          <a:spcPct val="107000"/>
                        </a:lnSpc>
                        <a:spcAft>
                          <a:spcPts val="800"/>
                        </a:spcAft>
                      </a:pPr>
                      <a:r>
                        <a:rPr lang="mn-MN" sz="1800" dirty="0">
                          <a:effectLst/>
                        </a:rPr>
                        <a:t>Нэгж модонд хэрэглэгдэх компостын хэмжээ</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hMerge="1">
                  <a:txBody>
                    <a:bodyPr/>
                    <a:lstStyle/>
                    <a:p>
                      <a:endParaRPr lang="en-GB"/>
                    </a:p>
                  </a:txBody>
                  <a:tcPr/>
                </a:tc>
                <a:tc>
                  <a:txBody>
                    <a:bodyPr/>
                    <a:lstStyle/>
                    <a:p>
                      <a:pPr algn="ctr">
                        <a:lnSpc>
                          <a:spcPct val="107000"/>
                        </a:lnSpc>
                        <a:spcAft>
                          <a:spcPts val="800"/>
                        </a:spcAft>
                      </a:pPr>
                      <a:r>
                        <a:rPr lang="mn-MN" sz="1800" dirty="0">
                          <a:effectLst/>
                        </a:rPr>
                        <a:t>Нийт компостын хэмжээ</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mn-MN" sz="1800" dirty="0">
                          <a:effectLst/>
                        </a:rPr>
                        <a:t>Үнэ</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mn-MN" sz="1800" dirty="0">
                          <a:effectLst/>
                        </a:rPr>
                        <a:t>Жилд шаардагдах хэмжээ</a:t>
                      </a:r>
                      <a:endParaRPr lang="en-GB" sz="1800" dirty="0">
                        <a:effectLst/>
                      </a:endParaRPr>
                    </a:p>
                    <a:p>
                      <a:pPr algn="ctr">
                        <a:lnSpc>
                          <a:spcPct val="107000"/>
                        </a:lnSpc>
                        <a:spcAft>
                          <a:spcPts val="800"/>
                        </a:spcAft>
                      </a:pPr>
                      <a:r>
                        <a:rPr lang="en-GB" sz="1800" dirty="0">
                          <a:effectLst/>
                        </a:rPr>
                        <a:t>(</a:t>
                      </a:r>
                      <a:r>
                        <a:rPr lang="mn-MN" sz="1800" dirty="0">
                          <a:effectLst/>
                        </a:rPr>
                        <a:t>мод</a:t>
                      </a:r>
                      <a:r>
                        <a:rPr lang="en-GB" sz="1800" dirty="0">
                          <a:effectLst/>
                        </a:rPr>
                        <a:t> / </a:t>
                      </a:r>
                      <a:r>
                        <a:rPr lang="mn-MN" sz="1800" dirty="0">
                          <a:effectLst/>
                        </a:rPr>
                        <a:t>жилд</a:t>
                      </a:r>
                      <a:r>
                        <a:rPr lang="en-GB" sz="1800" dirty="0">
                          <a:effectLst/>
                        </a:rPr>
                        <a:t>)</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extLst>
                  <a:ext uri="{0D108BD9-81ED-4DB2-BD59-A6C34878D82A}">
                    <a16:rowId xmlns:a16="http://schemas.microsoft.com/office/drawing/2014/main" val="127480892"/>
                  </a:ext>
                </a:extLst>
              </a:tr>
              <a:tr h="790977">
                <a:tc>
                  <a:txBody>
                    <a:bodyPr/>
                    <a:lstStyle/>
                    <a:p>
                      <a:pPr>
                        <a:lnSpc>
                          <a:spcPct val="107000"/>
                        </a:lnSpc>
                        <a:spcAft>
                          <a:spcPts val="800"/>
                        </a:spcAft>
                      </a:pPr>
                      <a:r>
                        <a:rPr lang="mn-MN" sz="1800" dirty="0">
                          <a:effectLst/>
                        </a:rPr>
                        <a:t>Өсөлтийг дэмжих нэмэлт </a:t>
                      </a:r>
                      <a:r>
                        <a:rPr lang="en-GB" sz="1800" dirty="0">
                          <a:effectLst/>
                        </a:rPr>
                        <a:t>(</a:t>
                      </a:r>
                      <a:r>
                        <a:rPr lang="mn-MN" sz="1800" dirty="0">
                          <a:effectLst/>
                        </a:rPr>
                        <a:t>суулгац</a:t>
                      </a:r>
                      <a:r>
                        <a:rPr lang="en-GB" sz="1800" dirty="0">
                          <a:effectLst/>
                        </a:rPr>
                        <a:t>)</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dirty="0">
                          <a:effectLst/>
                        </a:rPr>
                        <a:t>0.5 </a:t>
                      </a:r>
                      <a:r>
                        <a:rPr lang="mn-MN" sz="1800" dirty="0">
                          <a:effectLst/>
                        </a:rPr>
                        <a:t>литр</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dirty="0">
                          <a:effectLst/>
                        </a:rPr>
                        <a:t>0.25 </a:t>
                      </a:r>
                      <a:r>
                        <a:rPr lang="mn-MN" sz="1800" dirty="0">
                          <a:effectLst/>
                        </a:rPr>
                        <a:t>кг</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nSpc>
                          <a:spcPct val="107000"/>
                        </a:lnSpc>
                        <a:spcAft>
                          <a:spcPts val="800"/>
                        </a:spcAft>
                        <a:tabLst>
                          <a:tab pos="771525" algn="dec"/>
                        </a:tabLst>
                      </a:pPr>
                      <a:r>
                        <a:rPr lang="en-GB" sz="1800" dirty="0">
                          <a:effectLst/>
                        </a:rPr>
                        <a:t>54 </a:t>
                      </a:r>
                      <a:r>
                        <a:rPr lang="mn-MN" sz="1800" dirty="0">
                          <a:effectLst/>
                        </a:rPr>
                        <a:t>тонн</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nSpc>
                          <a:spcPct val="107000"/>
                        </a:lnSpc>
                        <a:spcAft>
                          <a:spcPts val="800"/>
                        </a:spcAft>
                        <a:tabLst>
                          <a:tab pos="771525" algn="dec"/>
                        </a:tabLst>
                      </a:pPr>
                      <a:r>
                        <a:rPr lang="en-GB" sz="1800" dirty="0">
                          <a:effectLst/>
                        </a:rPr>
                        <a:t>1,728,000</a:t>
                      </a:r>
                      <a:r>
                        <a:rPr lang="mn-MN" sz="1800" dirty="0">
                          <a:effectLst/>
                        </a:rPr>
                        <a:t> төг</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nSpc>
                          <a:spcPct val="107000"/>
                        </a:lnSpc>
                        <a:spcAft>
                          <a:spcPts val="800"/>
                        </a:spcAft>
                        <a:tabLst>
                          <a:tab pos="771525" algn="dec"/>
                        </a:tabLst>
                      </a:pPr>
                      <a:r>
                        <a:rPr lang="en-GB" sz="1800">
                          <a:effectLst/>
                        </a:rPr>
                        <a:t>43,200</a:t>
                      </a:r>
                      <a:endParaRPr lang="en-GB" sz="180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extLst>
                  <a:ext uri="{0D108BD9-81ED-4DB2-BD59-A6C34878D82A}">
                    <a16:rowId xmlns:a16="http://schemas.microsoft.com/office/drawing/2014/main" val="3456927231"/>
                  </a:ext>
                </a:extLst>
              </a:tr>
              <a:tr h="878172">
                <a:tc>
                  <a:txBody>
                    <a:bodyPr/>
                    <a:lstStyle/>
                    <a:p>
                      <a:pPr>
                        <a:lnSpc>
                          <a:spcPct val="107000"/>
                        </a:lnSpc>
                        <a:spcAft>
                          <a:spcPts val="800"/>
                        </a:spcAft>
                      </a:pPr>
                      <a:r>
                        <a:rPr lang="mn-MN" sz="1800" dirty="0">
                          <a:effectLst/>
                        </a:rPr>
                        <a:t>Ургалтыг дэмжих хөрсөнд хийх нэмэлт </a:t>
                      </a:r>
                      <a:r>
                        <a:rPr lang="en-GB" sz="1800" dirty="0">
                          <a:effectLst/>
                        </a:rPr>
                        <a:t>(</a:t>
                      </a:r>
                      <a:r>
                        <a:rPr lang="mn-MN" sz="1800" dirty="0">
                          <a:effectLst/>
                        </a:rPr>
                        <a:t>жижиг модонд</a:t>
                      </a:r>
                      <a:r>
                        <a:rPr lang="en-GB" sz="1800" dirty="0">
                          <a:effectLst/>
                        </a:rPr>
                        <a:t>)</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dirty="0">
                          <a:effectLst/>
                        </a:rPr>
                        <a:t>2 </a:t>
                      </a:r>
                      <a:r>
                        <a:rPr lang="mn-MN" sz="1800" dirty="0">
                          <a:effectLst/>
                        </a:rPr>
                        <a:t>литр</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dirty="0">
                          <a:effectLst/>
                        </a:rPr>
                        <a:t>1.00 </a:t>
                      </a:r>
                      <a:r>
                        <a:rPr lang="mn-MN" sz="1800" dirty="0">
                          <a:effectLst/>
                        </a:rPr>
                        <a:t>кг</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nSpc>
                          <a:spcPct val="107000"/>
                        </a:lnSpc>
                        <a:spcAft>
                          <a:spcPts val="800"/>
                        </a:spcAft>
                        <a:tabLst>
                          <a:tab pos="771525" algn="dec"/>
                        </a:tabLst>
                      </a:pPr>
                      <a:r>
                        <a:rPr lang="en-GB" sz="1800" dirty="0">
                          <a:effectLst/>
                        </a:rPr>
                        <a:t>216 </a:t>
                      </a:r>
                      <a:r>
                        <a:rPr lang="mn-MN" sz="1800" dirty="0">
                          <a:effectLst/>
                        </a:rPr>
                        <a:t>тонн</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nSpc>
                          <a:spcPct val="107000"/>
                        </a:lnSpc>
                        <a:spcAft>
                          <a:spcPts val="800"/>
                        </a:spcAft>
                        <a:tabLst>
                          <a:tab pos="771525" algn="dec"/>
                        </a:tabLst>
                      </a:pPr>
                      <a:r>
                        <a:rPr lang="en-GB" sz="1800" dirty="0">
                          <a:effectLst/>
                        </a:rPr>
                        <a:t>6,912,000</a:t>
                      </a:r>
                      <a:r>
                        <a:rPr lang="mn-MN" sz="1800" dirty="0">
                          <a:effectLst/>
                        </a:rPr>
                        <a:t> төг</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nSpc>
                          <a:spcPct val="107000"/>
                        </a:lnSpc>
                        <a:spcAft>
                          <a:spcPts val="800"/>
                        </a:spcAft>
                        <a:tabLst>
                          <a:tab pos="771525" algn="dec"/>
                        </a:tabLst>
                      </a:pPr>
                      <a:r>
                        <a:rPr lang="en-GB" sz="1800">
                          <a:effectLst/>
                        </a:rPr>
                        <a:t>172,800</a:t>
                      </a:r>
                      <a:endParaRPr lang="en-GB" sz="180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extLst>
                  <a:ext uri="{0D108BD9-81ED-4DB2-BD59-A6C34878D82A}">
                    <a16:rowId xmlns:a16="http://schemas.microsoft.com/office/drawing/2014/main" val="1007612934"/>
                  </a:ext>
                </a:extLst>
              </a:tr>
              <a:tr h="878172">
                <a:tc>
                  <a:txBody>
                    <a:bodyPr/>
                    <a:lstStyle/>
                    <a:p>
                      <a:pPr>
                        <a:lnSpc>
                          <a:spcPct val="107000"/>
                        </a:lnSpc>
                        <a:spcAft>
                          <a:spcPts val="800"/>
                        </a:spcAft>
                      </a:pPr>
                      <a:r>
                        <a:rPr lang="mn-MN" sz="1800" dirty="0">
                          <a:effectLst/>
                        </a:rPr>
                        <a:t>Нийт</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dirty="0">
                          <a:effectLst/>
                        </a:rPr>
                        <a:t>2.5 </a:t>
                      </a:r>
                      <a:r>
                        <a:rPr lang="mn-MN" sz="1800" dirty="0">
                          <a:effectLst/>
                        </a:rPr>
                        <a:t>литр</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gn="ctr">
                        <a:lnSpc>
                          <a:spcPct val="107000"/>
                        </a:lnSpc>
                        <a:spcAft>
                          <a:spcPts val="800"/>
                        </a:spcAft>
                      </a:pPr>
                      <a:r>
                        <a:rPr lang="en-GB" sz="1800" dirty="0">
                          <a:effectLst/>
                        </a:rPr>
                        <a:t>1.25 </a:t>
                      </a:r>
                      <a:r>
                        <a:rPr lang="mn-MN" sz="1800" dirty="0">
                          <a:effectLst/>
                        </a:rPr>
                        <a:t>кг</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nSpc>
                          <a:spcPct val="107000"/>
                        </a:lnSpc>
                        <a:spcAft>
                          <a:spcPts val="800"/>
                        </a:spcAft>
                        <a:tabLst>
                          <a:tab pos="771525" algn="dec"/>
                        </a:tabLst>
                      </a:pPr>
                      <a:r>
                        <a:rPr lang="en-GB" sz="1800" dirty="0">
                          <a:effectLst/>
                        </a:rPr>
                        <a:t>270 </a:t>
                      </a:r>
                      <a:r>
                        <a:rPr lang="mn-MN" sz="1800" dirty="0">
                          <a:effectLst/>
                        </a:rPr>
                        <a:t>тонн</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nSpc>
                          <a:spcPct val="107000"/>
                        </a:lnSpc>
                        <a:spcAft>
                          <a:spcPts val="800"/>
                        </a:spcAft>
                        <a:tabLst>
                          <a:tab pos="771525" algn="dec"/>
                        </a:tabLst>
                      </a:pPr>
                      <a:r>
                        <a:rPr lang="en-GB" sz="1800" dirty="0">
                          <a:effectLst/>
                        </a:rPr>
                        <a:t>8,640,000</a:t>
                      </a:r>
                      <a:r>
                        <a:rPr lang="mn-MN" sz="1800" dirty="0">
                          <a:effectLst/>
                        </a:rPr>
                        <a:t> төг</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tc>
                  <a:txBody>
                    <a:bodyPr/>
                    <a:lstStyle/>
                    <a:p>
                      <a:pPr>
                        <a:lnSpc>
                          <a:spcPct val="107000"/>
                        </a:lnSpc>
                        <a:spcAft>
                          <a:spcPts val="800"/>
                        </a:spcAft>
                        <a:tabLst>
                          <a:tab pos="771525" algn="dec"/>
                        </a:tabLst>
                      </a:pPr>
                      <a:r>
                        <a:rPr lang="en-GB" sz="1800" dirty="0">
                          <a:effectLst/>
                        </a:rPr>
                        <a:t>216,000</a:t>
                      </a:r>
                      <a:endParaRPr lang="en-GB" sz="1800" dirty="0">
                        <a:effectLst/>
                        <a:latin typeface="Calibri" panose="020F0502020204030204" pitchFamily="34" charset="0"/>
                        <a:ea typeface="Calibri" panose="020F0502020204030204" pitchFamily="34" charset="0"/>
                        <a:cs typeface="Mongolian Baiti" panose="03000500000000000000" pitchFamily="66" charset="0"/>
                      </a:endParaRPr>
                    </a:p>
                  </a:txBody>
                  <a:tcPr marL="68580" marR="68580" marT="0" marB="0" anchor="ctr"/>
                </a:tc>
                <a:extLst>
                  <a:ext uri="{0D108BD9-81ED-4DB2-BD59-A6C34878D82A}">
                    <a16:rowId xmlns:a16="http://schemas.microsoft.com/office/drawing/2014/main" val="818155615"/>
                  </a:ext>
                </a:extLst>
              </a:tr>
            </a:tbl>
          </a:graphicData>
        </a:graphic>
      </p:graphicFrame>
      <p:sp>
        <p:nvSpPr>
          <p:cNvPr id="4" name="Slide Number Placeholder 3">
            <a:extLst>
              <a:ext uri="{FF2B5EF4-FFF2-40B4-BE49-F238E27FC236}">
                <a16:creationId xmlns:a16="http://schemas.microsoft.com/office/drawing/2014/main" id="{A88818D5-C87E-503A-6905-974FEE54A353}"/>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22BD14A0-459B-CA46-A763-3163F186A6C2}" type="slidenum">
              <a:rPr kumimoji="0" lang="en-US" sz="1000" b="0" i="0" u="none" strike="noStrike" kern="1200" cap="none" spc="0" normalizeH="0" baseline="0" noProof="0" smtClean="0">
                <a:ln>
                  <a:noFill/>
                </a:ln>
                <a:solidFill>
                  <a:srgbClr val="000000">
                    <a:lumMod val="50000"/>
                    <a:lumOff val="50000"/>
                  </a:srgbClr>
                </a:solidFill>
                <a:effectLst/>
                <a:uLnTx/>
                <a:uFillTx/>
                <a:latin typeface="Tahoma"/>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44</a:t>
            </a:fld>
            <a:endParaRPr kumimoji="0" lang="en-US" sz="1000" b="0" i="0" u="none" strike="noStrike" kern="1200" cap="none" spc="0" normalizeH="0" baseline="0" noProof="0">
              <a:ln>
                <a:noFill/>
              </a:ln>
              <a:solidFill>
                <a:srgbClr val="000000">
                  <a:lumMod val="50000"/>
                  <a:lumOff val="50000"/>
                </a:srgbClr>
              </a:solidFill>
              <a:effectLst/>
              <a:uLnTx/>
              <a:uFillTx/>
              <a:latin typeface="Tahoma"/>
              <a:ea typeface="+mn-ea"/>
              <a:cs typeface="+mn-cs"/>
            </a:endParaRPr>
          </a:p>
        </p:txBody>
      </p:sp>
      <p:sp>
        <p:nvSpPr>
          <p:cNvPr id="7" name="TextBox 6">
            <a:extLst>
              <a:ext uri="{FF2B5EF4-FFF2-40B4-BE49-F238E27FC236}">
                <a16:creationId xmlns:a16="http://schemas.microsoft.com/office/drawing/2014/main" id="{9C5681B3-0E3D-0722-59A5-655E36A2CA97}"/>
              </a:ext>
            </a:extLst>
          </p:cNvPr>
          <p:cNvSpPr txBox="1"/>
          <p:nvPr/>
        </p:nvSpPr>
        <p:spPr>
          <a:xfrm>
            <a:off x="806117" y="5670034"/>
            <a:ext cx="6096000"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mn-MN"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ongolian Baiti" panose="03000500000000000000" pitchFamily="66" charset="0"/>
              </a:rPr>
              <a:t>Үүнд тээвэрлэлтийн зардлыг оруулаагүй болно</a:t>
            </a:r>
            <a:endParaRPr kumimoji="0" lang="en-GB" sz="1800" b="0" i="0" u="none" strike="noStrike" kern="1200" cap="none" spc="0" normalizeH="0" baseline="0" noProof="0" dirty="0">
              <a:ln>
                <a:noFill/>
              </a:ln>
              <a:solidFill>
                <a:srgbClr val="000000"/>
              </a:solidFill>
              <a:effectLst/>
              <a:uLnTx/>
              <a:uFillTx/>
              <a:latin typeface="Tahoma"/>
              <a:ea typeface="+mn-ea"/>
              <a:cs typeface="+mn-cs"/>
            </a:endParaRPr>
          </a:p>
        </p:txBody>
      </p:sp>
    </p:spTree>
    <p:extLst>
      <p:ext uri="{BB962C8B-B14F-4D97-AF65-F5344CB8AC3E}">
        <p14:creationId xmlns:p14="http://schemas.microsoft.com/office/powerpoint/2010/main" val="30222767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53B80-BB9D-7628-B338-8E8A6F599B73}"/>
              </a:ext>
            </a:extLst>
          </p:cNvPr>
          <p:cNvSpPr>
            <a:spLocks noGrp="1"/>
          </p:cNvSpPr>
          <p:nvPr>
            <p:ph type="title"/>
          </p:nvPr>
        </p:nvSpPr>
        <p:spPr/>
        <p:txBody>
          <a:bodyPr/>
          <a:lstStyle/>
          <a:p>
            <a:r>
              <a:rPr lang="mn-MN" dirty="0"/>
              <a:t>БИДНИЙ АЛСЫН ХАРАА </a:t>
            </a:r>
            <a:r>
              <a:rPr lang="en-GB" dirty="0"/>
              <a:t>– </a:t>
            </a:r>
            <a:r>
              <a:rPr lang="mn-MN" dirty="0"/>
              <a:t>УЛААНБААТАР ХОТЫН ТОГТВОРТОЙ ХӨГЖИЛ</a:t>
            </a:r>
            <a:endParaRPr lang="en-GB" dirty="0"/>
          </a:p>
        </p:txBody>
      </p:sp>
      <p:sp>
        <p:nvSpPr>
          <p:cNvPr id="4" name="Slide Number Placeholder 3">
            <a:extLst>
              <a:ext uri="{FF2B5EF4-FFF2-40B4-BE49-F238E27FC236}">
                <a16:creationId xmlns:a16="http://schemas.microsoft.com/office/drawing/2014/main" id="{D8FFD682-9EEB-8863-19D5-C1FD731C0CC4}"/>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22BD14A0-459B-CA46-A763-3163F186A6C2}" type="slidenum">
              <a:rPr kumimoji="0" lang="en-US" sz="1000" b="0" i="0" u="none" strike="noStrike" kern="1200" cap="none" spc="0" normalizeH="0" baseline="0" noProof="0" smtClean="0">
                <a:ln>
                  <a:noFill/>
                </a:ln>
                <a:solidFill>
                  <a:srgbClr val="000000">
                    <a:lumMod val="50000"/>
                    <a:lumOff val="50000"/>
                  </a:srgbClr>
                </a:solidFill>
                <a:effectLst/>
                <a:uLnTx/>
                <a:uFillTx/>
                <a:latin typeface="Tahoma"/>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45</a:t>
            </a:fld>
            <a:endParaRPr kumimoji="0" lang="en-US" sz="1000" b="0" i="0" u="none" strike="noStrike" kern="1200" cap="none" spc="0" normalizeH="0" baseline="0" noProof="0">
              <a:ln>
                <a:noFill/>
              </a:ln>
              <a:solidFill>
                <a:srgbClr val="000000">
                  <a:lumMod val="50000"/>
                  <a:lumOff val="50000"/>
                </a:srgbClr>
              </a:solidFill>
              <a:effectLst/>
              <a:uLnTx/>
              <a:uFillTx/>
              <a:latin typeface="Tahoma"/>
              <a:ea typeface="+mn-ea"/>
              <a:cs typeface="+mn-cs"/>
            </a:endParaRPr>
          </a:p>
        </p:txBody>
      </p:sp>
      <p:grpSp>
        <p:nvGrpSpPr>
          <p:cNvPr id="5" name="Group 4">
            <a:extLst>
              <a:ext uri="{FF2B5EF4-FFF2-40B4-BE49-F238E27FC236}">
                <a16:creationId xmlns:a16="http://schemas.microsoft.com/office/drawing/2014/main" id="{D51B31E3-5957-73A5-A70D-CB2E8E3E7D41}"/>
              </a:ext>
            </a:extLst>
          </p:cNvPr>
          <p:cNvGrpSpPr/>
          <p:nvPr/>
        </p:nvGrpSpPr>
        <p:grpSpPr>
          <a:xfrm>
            <a:off x="48836" y="2404524"/>
            <a:ext cx="2382466" cy="3641572"/>
            <a:chOff x="-896737" y="370912"/>
            <a:chExt cx="4868405" cy="7926291"/>
          </a:xfrm>
        </p:grpSpPr>
        <p:sp>
          <p:nvSpPr>
            <p:cNvPr id="6" name="Freeform 64">
              <a:extLst>
                <a:ext uri="{FF2B5EF4-FFF2-40B4-BE49-F238E27FC236}">
                  <a16:creationId xmlns:a16="http://schemas.microsoft.com/office/drawing/2014/main" id="{3DE28B2A-91BA-2949-C51F-30BB29674076}"/>
                </a:ext>
              </a:extLst>
            </p:cNvPr>
            <p:cNvSpPr/>
            <p:nvPr/>
          </p:nvSpPr>
          <p:spPr>
            <a:xfrm>
              <a:off x="1032607" y="7895266"/>
              <a:ext cx="768007" cy="401937"/>
            </a:xfrm>
            <a:custGeom>
              <a:avLst/>
              <a:gdLst>
                <a:gd name="connsiteX0" fmla="*/ 6348 w 1331268"/>
                <a:gd name="connsiteY0" fmla="*/ 180536 h 696720"/>
                <a:gd name="connsiteX1" fmla="*/ 64714 w 1331268"/>
                <a:gd name="connsiteY1" fmla="*/ 696436 h 696720"/>
                <a:gd name="connsiteX2" fmla="*/ 1329431 w 1331268"/>
                <a:gd name="connsiteY2" fmla="*/ 693883 h 696720"/>
                <a:gd name="connsiteX3" fmla="*/ 1126316 w 1331268"/>
                <a:gd name="connsiteY3" fmla="*/ 515597 h 696720"/>
                <a:gd name="connsiteX4" fmla="*/ 506178 w 1331268"/>
                <a:gd name="connsiteY4" fmla="*/ 99523 h 696720"/>
                <a:gd name="connsiteX5" fmla="*/ 6348 w 1331268"/>
                <a:gd name="connsiteY5" fmla="*/ 180536 h 69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1268" h="696720">
                  <a:moveTo>
                    <a:pt x="6348" y="180536"/>
                  </a:moveTo>
                  <a:cubicBezTo>
                    <a:pt x="6348" y="180536"/>
                    <a:pt x="-34070" y="647800"/>
                    <a:pt x="64714" y="696436"/>
                  </a:cubicBezTo>
                  <a:lnTo>
                    <a:pt x="1329431" y="693883"/>
                  </a:lnTo>
                  <a:cubicBezTo>
                    <a:pt x="1329431" y="693883"/>
                    <a:pt x="1329431" y="548046"/>
                    <a:pt x="1126316" y="515597"/>
                  </a:cubicBezTo>
                  <a:cubicBezTo>
                    <a:pt x="923204" y="483149"/>
                    <a:pt x="566297" y="364291"/>
                    <a:pt x="506178" y="99523"/>
                  </a:cubicBezTo>
                  <a:cubicBezTo>
                    <a:pt x="446061" y="-165244"/>
                    <a:pt x="6348" y="180536"/>
                    <a:pt x="6348" y="180536"/>
                  </a:cubicBezTo>
                  <a:close/>
                </a:path>
              </a:pathLst>
            </a:custGeom>
            <a:solidFill>
              <a:schemeClr val="tx2"/>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7" name="Freeform 68">
              <a:extLst>
                <a:ext uri="{FF2B5EF4-FFF2-40B4-BE49-F238E27FC236}">
                  <a16:creationId xmlns:a16="http://schemas.microsoft.com/office/drawing/2014/main" id="{6C6D8E71-FA5B-B2F3-077E-5A1A284FC80C}"/>
                </a:ext>
              </a:extLst>
            </p:cNvPr>
            <p:cNvSpPr/>
            <p:nvPr/>
          </p:nvSpPr>
          <p:spPr>
            <a:xfrm>
              <a:off x="-817279" y="7562965"/>
              <a:ext cx="578322" cy="660825"/>
            </a:xfrm>
            <a:custGeom>
              <a:avLst/>
              <a:gdLst>
                <a:gd name="connsiteX0" fmla="*/ 185069 w 1002468"/>
                <a:gd name="connsiteY0" fmla="*/ 96989 h 1145478"/>
                <a:gd name="connsiteX1" fmla="*/ 3843 w 1002468"/>
                <a:gd name="connsiteY1" fmla="*/ 448165 h 1145478"/>
                <a:gd name="connsiteX2" fmla="*/ 278382 w 1002468"/>
                <a:gd name="connsiteY2" fmla="*/ 869635 h 1145478"/>
                <a:gd name="connsiteX3" fmla="*/ 514472 w 1002468"/>
                <a:gd name="connsiteY3" fmla="*/ 1145195 h 1145478"/>
                <a:gd name="connsiteX4" fmla="*/ 985631 w 1002468"/>
                <a:gd name="connsiteY4" fmla="*/ 1145195 h 1145478"/>
                <a:gd name="connsiteX5" fmla="*/ 882688 w 1002468"/>
                <a:gd name="connsiteY5" fmla="*/ 981858 h 1145478"/>
                <a:gd name="connsiteX6" fmla="*/ 651705 w 1002468"/>
                <a:gd name="connsiteY6" fmla="*/ 540043 h 1145478"/>
                <a:gd name="connsiteX7" fmla="*/ 635289 w 1002468"/>
                <a:gd name="connsiteY7" fmla="*/ 86124 h 1145478"/>
                <a:gd name="connsiteX8" fmla="*/ 261894 w 1002468"/>
                <a:gd name="connsiteY8" fmla="*/ -284 h 114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2468" h="1145478">
                  <a:moveTo>
                    <a:pt x="185069" y="96989"/>
                  </a:moveTo>
                  <a:cubicBezTo>
                    <a:pt x="185069" y="96989"/>
                    <a:pt x="-40077" y="302254"/>
                    <a:pt x="3843" y="448165"/>
                  </a:cubicBezTo>
                  <a:cubicBezTo>
                    <a:pt x="47764" y="594075"/>
                    <a:pt x="250950" y="691349"/>
                    <a:pt x="278382" y="869635"/>
                  </a:cubicBezTo>
                  <a:cubicBezTo>
                    <a:pt x="305814" y="1047921"/>
                    <a:pt x="415615" y="1145195"/>
                    <a:pt x="514472" y="1145195"/>
                  </a:cubicBezTo>
                  <a:lnTo>
                    <a:pt x="985631" y="1145195"/>
                  </a:lnTo>
                  <a:cubicBezTo>
                    <a:pt x="985631" y="1145195"/>
                    <a:pt x="1058589" y="1019702"/>
                    <a:pt x="882688" y="981858"/>
                  </a:cubicBezTo>
                  <a:cubicBezTo>
                    <a:pt x="706788" y="944011"/>
                    <a:pt x="640761" y="734516"/>
                    <a:pt x="651705" y="540043"/>
                  </a:cubicBezTo>
                  <a:cubicBezTo>
                    <a:pt x="662649" y="345569"/>
                    <a:pt x="635289" y="86124"/>
                    <a:pt x="635289" y="86124"/>
                  </a:cubicBezTo>
                  <a:lnTo>
                    <a:pt x="261894" y="-284"/>
                  </a:lnTo>
                  <a:close/>
                </a:path>
              </a:pathLst>
            </a:custGeom>
            <a:solidFill>
              <a:schemeClr val="tx2"/>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grpSp>
          <p:nvGrpSpPr>
            <p:cNvPr id="8" name="Group 7">
              <a:extLst>
                <a:ext uri="{FF2B5EF4-FFF2-40B4-BE49-F238E27FC236}">
                  <a16:creationId xmlns:a16="http://schemas.microsoft.com/office/drawing/2014/main" id="{92770777-BFB9-F6FC-AF16-6E141C629AC7}"/>
                </a:ext>
              </a:extLst>
            </p:cNvPr>
            <p:cNvGrpSpPr/>
            <p:nvPr/>
          </p:nvGrpSpPr>
          <p:grpSpPr>
            <a:xfrm>
              <a:off x="-896737" y="370912"/>
              <a:ext cx="4868405" cy="7658370"/>
              <a:chOff x="-388356" y="3679277"/>
              <a:chExt cx="4868405" cy="7658370"/>
            </a:xfrm>
          </p:grpSpPr>
          <p:sp>
            <p:nvSpPr>
              <p:cNvPr id="9" name="Freeform 62">
                <a:extLst>
                  <a:ext uri="{FF2B5EF4-FFF2-40B4-BE49-F238E27FC236}">
                    <a16:creationId xmlns:a16="http://schemas.microsoft.com/office/drawing/2014/main" id="{2E93B249-9205-D4CB-62F3-95D930E3FBAA}"/>
                  </a:ext>
                </a:extLst>
              </p:cNvPr>
              <p:cNvSpPr/>
              <p:nvPr/>
            </p:nvSpPr>
            <p:spPr>
              <a:xfrm>
                <a:off x="3182153" y="4179757"/>
                <a:ext cx="234118" cy="304025"/>
              </a:xfrm>
              <a:custGeom>
                <a:avLst/>
                <a:gdLst>
                  <a:gd name="connsiteX0" fmla="*/ 90737 w 405821"/>
                  <a:gd name="connsiteY0" fmla="*/ 477129 h 526998"/>
                  <a:gd name="connsiteX1" fmla="*/ 90737 w 405821"/>
                  <a:gd name="connsiteY1" fmla="*/ 31888 h 526998"/>
                  <a:gd name="connsiteX2" fmla="*/ 403214 w 405821"/>
                  <a:gd name="connsiteY2" fmla="*/ 110276 h 526998"/>
                  <a:gd name="connsiteX3" fmla="*/ 323836 w 405821"/>
                  <a:gd name="connsiteY3" fmla="*/ 526714 h 526998"/>
                </a:gdLst>
                <a:ahLst/>
                <a:cxnLst>
                  <a:cxn ang="0">
                    <a:pos x="connsiteX0" y="connsiteY0"/>
                  </a:cxn>
                  <a:cxn ang="0">
                    <a:pos x="connsiteX1" y="connsiteY1"/>
                  </a:cxn>
                  <a:cxn ang="0">
                    <a:pos x="connsiteX2" y="connsiteY2"/>
                  </a:cxn>
                  <a:cxn ang="0">
                    <a:pos x="connsiteX3" y="connsiteY3"/>
                  </a:cxn>
                </a:cxnLst>
                <a:rect l="l" t="t" r="r" b="b"/>
                <a:pathLst>
                  <a:path w="405821" h="526998">
                    <a:moveTo>
                      <a:pt x="90737" y="477129"/>
                    </a:moveTo>
                    <a:cubicBezTo>
                      <a:pt x="90737" y="477129"/>
                      <a:pt x="-117557" y="107140"/>
                      <a:pt x="90737" y="31888"/>
                    </a:cubicBezTo>
                    <a:cubicBezTo>
                      <a:pt x="299031" y="-43364"/>
                      <a:pt x="393291" y="26054"/>
                      <a:pt x="403214" y="110276"/>
                    </a:cubicBezTo>
                    <a:cubicBezTo>
                      <a:pt x="413136" y="194497"/>
                      <a:pt x="323836" y="526714"/>
                      <a:pt x="323836" y="526714"/>
                    </a:cubicBezTo>
                    <a:close/>
                  </a:path>
                </a:pathLst>
              </a:custGeom>
              <a:solidFill>
                <a:srgbClr val="FBD1B7"/>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10" name="Freeform 63">
                <a:extLst>
                  <a:ext uri="{FF2B5EF4-FFF2-40B4-BE49-F238E27FC236}">
                    <a16:creationId xmlns:a16="http://schemas.microsoft.com/office/drawing/2014/main" id="{B65CB0FF-91D1-2D7C-AAFE-8B9657DB9940}"/>
                  </a:ext>
                </a:extLst>
              </p:cNvPr>
              <p:cNvSpPr/>
              <p:nvPr/>
            </p:nvSpPr>
            <p:spPr>
              <a:xfrm>
                <a:off x="1610965" y="4401091"/>
                <a:ext cx="1890037" cy="1481973"/>
              </a:xfrm>
              <a:custGeom>
                <a:avLst/>
                <a:gdLst>
                  <a:gd name="connsiteX0" fmla="*/ 2981174 w 3276204"/>
                  <a:gd name="connsiteY0" fmla="*/ 2459606 h 2568862"/>
                  <a:gd name="connsiteX1" fmla="*/ 1937079 w 3276204"/>
                  <a:gd name="connsiteY1" fmla="*/ 2566942 h 2568862"/>
                  <a:gd name="connsiteX2" fmla="*/ 1134547 w 3276204"/>
                  <a:gd name="connsiteY2" fmla="*/ 2530483 h 2568862"/>
                  <a:gd name="connsiteX3" fmla="*/ 952592 w 3276204"/>
                  <a:gd name="connsiteY3" fmla="*/ 2506274 h 2568862"/>
                  <a:gd name="connsiteX4" fmla="*/ -1838 w 3276204"/>
                  <a:gd name="connsiteY4" fmla="*/ 2247850 h 2568862"/>
                  <a:gd name="connsiteX5" fmla="*/ 1013802 w 3276204"/>
                  <a:gd name="connsiteY5" fmla="*/ 1117611 h 2568862"/>
                  <a:gd name="connsiteX6" fmla="*/ 2538177 w 3276204"/>
                  <a:gd name="connsiteY6" fmla="*/ 1514288 h 2568862"/>
                  <a:gd name="connsiteX7" fmla="*/ 2723707 w 3276204"/>
                  <a:gd name="connsiteY7" fmla="*/ 69332 h 2568862"/>
                  <a:gd name="connsiteX8" fmla="*/ 3100751 w 3276204"/>
                  <a:gd name="connsiteY8" fmla="*/ 78082 h 2568862"/>
                  <a:gd name="connsiteX9" fmla="*/ 2981174 w 3276204"/>
                  <a:gd name="connsiteY9" fmla="*/ 2459606 h 256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6204" h="2568862">
                    <a:moveTo>
                      <a:pt x="2981174" y="2459606"/>
                    </a:moveTo>
                    <a:cubicBezTo>
                      <a:pt x="2636450" y="2522527"/>
                      <a:pt x="2287348" y="2558418"/>
                      <a:pt x="1937079" y="2566942"/>
                    </a:cubicBezTo>
                    <a:cubicBezTo>
                      <a:pt x="1669034" y="2573301"/>
                      <a:pt x="1400915" y="2561116"/>
                      <a:pt x="1134547" y="2530483"/>
                    </a:cubicBezTo>
                    <a:cubicBezTo>
                      <a:pt x="1071294" y="2523242"/>
                      <a:pt x="1010666" y="2515170"/>
                      <a:pt x="952592" y="2506274"/>
                    </a:cubicBezTo>
                    <a:cubicBezTo>
                      <a:pt x="337706" y="2413156"/>
                      <a:pt x="-1838" y="2247850"/>
                      <a:pt x="-1838" y="2247850"/>
                    </a:cubicBezTo>
                    <a:cubicBezTo>
                      <a:pt x="-1838" y="2247850"/>
                      <a:pt x="559934" y="1072474"/>
                      <a:pt x="1013802" y="1117611"/>
                    </a:cubicBezTo>
                    <a:cubicBezTo>
                      <a:pt x="1546392" y="1170696"/>
                      <a:pt x="2448512" y="1648240"/>
                      <a:pt x="2538177" y="1514288"/>
                    </a:cubicBezTo>
                    <a:cubicBezTo>
                      <a:pt x="2639149" y="1363420"/>
                      <a:pt x="2723707" y="69332"/>
                      <a:pt x="2723707" y="69332"/>
                    </a:cubicBezTo>
                    <a:cubicBezTo>
                      <a:pt x="2959796" y="-92256"/>
                      <a:pt x="3100751" y="78082"/>
                      <a:pt x="3100751" y="78082"/>
                    </a:cubicBezTo>
                    <a:cubicBezTo>
                      <a:pt x="3100751" y="78082"/>
                      <a:pt x="3561841" y="2354967"/>
                      <a:pt x="2981174" y="2459606"/>
                    </a:cubicBezTo>
                    <a:close/>
                  </a:path>
                </a:pathLst>
              </a:custGeom>
              <a:solidFill>
                <a:schemeClr val="accent1"/>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11" name="Freeform 65">
                <a:extLst>
                  <a:ext uri="{FF2B5EF4-FFF2-40B4-BE49-F238E27FC236}">
                    <a16:creationId xmlns:a16="http://schemas.microsoft.com/office/drawing/2014/main" id="{0C77CF2E-9673-334F-34BF-619955DDBAAA}"/>
                  </a:ext>
                </a:extLst>
              </p:cNvPr>
              <p:cNvSpPr/>
              <p:nvPr/>
            </p:nvSpPr>
            <p:spPr>
              <a:xfrm>
                <a:off x="1194367" y="7188457"/>
                <a:ext cx="929907" cy="4149190"/>
              </a:xfrm>
              <a:custGeom>
                <a:avLst/>
                <a:gdLst>
                  <a:gd name="connsiteX0" fmla="*/ 1606216 w 1611908"/>
                  <a:gd name="connsiteY0" fmla="*/ 1462901 h 7192236"/>
                  <a:gd name="connsiteX1" fmla="*/ 1556534 w 1611908"/>
                  <a:gd name="connsiteY1" fmla="*/ 2367092 h 7192236"/>
                  <a:gd name="connsiteX2" fmla="*/ 1352253 w 1611908"/>
                  <a:gd name="connsiteY2" fmla="*/ 5648432 h 7192236"/>
                  <a:gd name="connsiteX3" fmla="*/ 1210787 w 1611908"/>
                  <a:gd name="connsiteY3" fmla="*/ 7060138 h 7192236"/>
                  <a:gd name="connsiteX4" fmla="*/ 582406 w 1611908"/>
                  <a:gd name="connsiteY4" fmla="*/ 7165870 h 7192236"/>
                  <a:gd name="connsiteX5" fmla="*/ 161442 w 1611908"/>
                  <a:gd name="connsiteY5" fmla="*/ 4598549 h 7192236"/>
                  <a:gd name="connsiteX6" fmla="*/ 158011 w 1611908"/>
                  <a:gd name="connsiteY6" fmla="*/ 4533507 h 7192236"/>
                  <a:gd name="connsiteX7" fmla="*/ 130216 w 1611908"/>
                  <a:gd name="connsiteY7" fmla="*/ 3945708 h 7192236"/>
                  <a:gd name="connsiteX8" fmla="*/ -1838 w 1611908"/>
                  <a:gd name="connsiteY8" fmla="*/ 372184 h 7192236"/>
                  <a:gd name="connsiteX9" fmla="*/ 1585279 w 1611908"/>
                  <a:gd name="connsiteY9" fmla="*/ -284 h 7192236"/>
                  <a:gd name="connsiteX10" fmla="*/ 1606216 w 1611908"/>
                  <a:gd name="connsiteY10" fmla="*/ 1462901 h 719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1908" h="7192236">
                    <a:moveTo>
                      <a:pt x="1606216" y="1462901"/>
                    </a:moveTo>
                    <a:cubicBezTo>
                      <a:pt x="1599943" y="1768503"/>
                      <a:pt x="1585279" y="2083658"/>
                      <a:pt x="1556534" y="2367092"/>
                    </a:cubicBezTo>
                    <a:cubicBezTo>
                      <a:pt x="1419885" y="3711130"/>
                      <a:pt x="1371878" y="5334882"/>
                      <a:pt x="1352253" y="5648432"/>
                    </a:cubicBezTo>
                    <a:cubicBezTo>
                      <a:pt x="1318254" y="6191895"/>
                      <a:pt x="1210787" y="7060138"/>
                      <a:pt x="1210787" y="7060138"/>
                    </a:cubicBezTo>
                    <a:cubicBezTo>
                      <a:pt x="1210787" y="7060138"/>
                      <a:pt x="997752" y="7262341"/>
                      <a:pt x="582406" y="7165870"/>
                    </a:cubicBezTo>
                    <a:cubicBezTo>
                      <a:pt x="582406" y="7165870"/>
                      <a:pt x="238337" y="5915315"/>
                      <a:pt x="161442" y="4598549"/>
                    </a:cubicBezTo>
                    <a:cubicBezTo>
                      <a:pt x="160273" y="4576674"/>
                      <a:pt x="159106" y="4554798"/>
                      <a:pt x="158011" y="4533507"/>
                    </a:cubicBezTo>
                    <a:cubicBezTo>
                      <a:pt x="149037" y="4359377"/>
                      <a:pt x="139699" y="4160308"/>
                      <a:pt x="130216" y="3945708"/>
                    </a:cubicBezTo>
                    <a:cubicBezTo>
                      <a:pt x="66960" y="2507972"/>
                      <a:pt x="-1838" y="372184"/>
                      <a:pt x="-1838" y="372184"/>
                    </a:cubicBezTo>
                    <a:lnTo>
                      <a:pt x="1585279" y="-284"/>
                    </a:lnTo>
                    <a:cubicBezTo>
                      <a:pt x="1585279" y="-284"/>
                      <a:pt x="1621757" y="701266"/>
                      <a:pt x="1606216" y="1462901"/>
                    </a:cubicBezTo>
                    <a:close/>
                  </a:path>
                </a:pathLst>
              </a:custGeom>
              <a:solidFill>
                <a:schemeClr val="accent2"/>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12" name="Freeform 66">
                <a:extLst>
                  <a:ext uri="{FF2B5EF4-FFF2-40B4-BE49-F238E27FC236}">
                    <a16:creationId xmlns:a16="http://schemas.microsoft.com/office/drawing/2014/main" id="{F3FD7A5A-684E-C267-68A5-789F7D3715F8}"/>
                  </a:ext>
                </a:extLst>
              </p:cNvPr>
              <p:cNvSpPr/>
              <p:nvPr/>
            </p:nvSpPr>
            <p:spPr>
              <a:xfrm>
                <a:off x="-388356" y="7257699"/>
                <a:ext cx="311159" cy="508506"/>
              </a:xfrm>
              <a:custGeom>
                <a:avLst/>
                <a:gdLst>
                  <a:gd name="connsiteX0" fmla="*/ 328399 w 539365"/>
                  <a:gd name="connsiteY0" fmla="*/ -284 h 881448"/>
                  <a:gd name="connsiteX1" fmla="*/ 46930 w 539365"/>
                  <a:gd name="connsiteY1" fmla="*/ 387425 h 881448"/>
                  <a:gd name="connsiteX2" fmla="*/ 4469 w 539365"/>
                  <a:gd name="connsiteY2" fmla="*/ 865917 h 881448"/>
                  <a:gd name="connsiteX3" fmla="*/ 260769 w 539365"/>
                  <a:gd name="connsiteY3" fmla="*/ 574971 h 881448"/>
                  <a:gd name="connsiteX4" fmla="*/ 235306 w 539365"/>
                  <a:gd name="connsiteY4" fmla="*/ 741371 h 881448"/>
                  <a:gd name="connsiteX5" fmla="*/ 428060 w 539365"/>
                  <a:gd name="connsiteY5" fmla="*/ 595534 h 881448"/>
                  <a:gd name="connsiteX6" fmla="*/ 529105 w 539365"/>
                  <a:gd name="connsiteY6" fmla="*/ 172606 h 881448"/>
                  <a:gd name="connsiteX7" fmla="*/ 328399 w 539365"/>
                  <a:gd name="connsiteY7" fmla="*/ -284 h 881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365" h="881448">
                    <a:moveTo>
                      <a:pt x="328399" y="-284"/>
                    </a:moveTo>
                    <a:cubicBezTo>
                      <a:pt x="328399" y="-284"/>
                      <a:pt x="70203" y="303276"/>
                      <a:pt x="46930" y="387425"/>
                    </a:cubicBezTo>
                    <a:cubicBezTo>
                      <a:pt x="23657" y="471572"/>
                      <a:pt x="-17637" y="774841"/>
                      <a:pt x="4469" y="865917"/>
                    </a:cubicBezTo>
                    <a:cubicBezTo>
                      <a:pt x="26574" y="956992"/>
                      <a:pt x="198317" y="611867"/>
                      <a:pt x="260769" y="574971"/>
                    </a:cubicBezTo>
                    <a:cubicBezTo>
                      <a:pt x="323220" y="538074"/>
                      <a:pt x="213930" y="712277"/>
                      <a:pt x="235306" y="741371"/>
                    </a:cubicBezTo>
                    <a:cubicBezTo>
                      <a:pt x="256683" y="770466"/>
                      <a:pt x="379908" y="639723"/>
                      <a:pt x="428060" y="595534"/>
                    </a:cubicBezTo>
                    <a:cubicBezTo>
                      <a:pt x="476211" y="551346"/>
                      <a:pt x="471324" y="313193"/>
                      <a:pt x="529105" y="172606"/>
                    </a:cubicBezTo>
                    <a:cubicBezTo>
                      <a:pt x="586888" y="32019"/>
                      <a:pt x="328399" y="-284"/>
                      <a:pt x="328399" y="-284"/>
                    </a:cubicBezTo>
                    <a:close/>
                  </a:path>
                </a:pathLst>
              </a:custGeom>
              <a:solidFill>
                <a:srgbClr val="FBD1B7"/>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13" name="Freeform 69">
                <a:extLst>
                  <a:ext uri="{FF2B5EF4-FFF2-40B4-BE49-F238E27FC236}">
                    <a16:creationId xmlns:a16="http://schemas.microsoft.com/office/drawing/2014/main" id="{D3139336-7CF4-77E2-E5CB-2881FEA2029F}"/>
                  </a:ext>
                </a:extLst>
              </p:cNvPr>
              <p:cNvSpPr/>
              <p:nvPr/>
            </p:nvSpPr>
            <p:spPr>
              <a:xfrm>
                <a:off x="-231147" y="7143446"/>
                <a:ext cx="2196879" cy="3944044"/>
              </a:xfrm>
              <a:custGeom>
                <a:avLst/>
                <a:gdLst>
                  <a:gd name="connsiteX0" fmla="*/ 3806249 w 3808086"/>
                  <a:gd name="connsiteY0" fmla="*/ 482146 h 6836635"/>
                  <a:gd name="connsiteX1" fmla="*/ 1529976 w 3808086"/>
                  <a:gd name="connsiteY1" fmla="*/ 5053271 h 6836635"/>
                  <a:gd name="connsiteX2" fmla="*/ 492303 w 3808086"/>
                  <a:gd name="connsiteY2" fmla="*/ 6836351 h 6836635"/>
                  <a:gd name="connsiteX3" fmla="*/ -1838 w 3808086"/>
                  <a:gd name="connsiteY3" fmla="*/ 6536437 h 6836635"/>
                  <a:gd name="connsiteX4" fmla="*/ 829877 w 3808086"/>
                  <a:gd name="connsiteY4" fmla="*/ 3189470 h 6836635"/>
                  <a:gd name="connsiteX5" fmla="*/ 1496926 w 3808086"/>
                  <a:gd name="connsiteY5" fmla="*/ 1317283 h 6836635"/>
                  <a:gd name="connsiteX6" fmla="*/ 1860474 w 3808086"/>
                  <a:gd name="connsiteY6" fmla="*/ -284 h 6836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8086" h="6836635">
                    <a:moveTo>
                      <a:pt x="3806249" y="482146"/>
                    </a:moveTo>
                    <a:cubicBezTo>
                      <a:pt x="3806249" y="482146"/>
                      <a:pt x="2320544" y="3659285"/>
                      <a:pt x="1529976" y="5053271"/>
                    </a:cubicBezTo>
                    <a:cubicBezTo>
                      <a:pt x="739409" y="6447257"/>
                      <a:pt x="492303" y="6836351"/>
                      <a:pt x="492303" y="6836351"/>
                    </a:cubicBezTo>
                    <a:cubicBezTo>
                      <a:pt x="492303" y="6836351"/>
                      <a:pt x="39310" y="6658065"/>
                      <a:pt x="-1838" y="6536437"/>
                    </a:cubicBezTo>
                    <a:cubicBezTo>
                      <a:pt x="-1838" y="6536437"/>
                      <a:pt x="300497" y="3845227"/>
                      <a:pt x="829877" y="3189470"/>
                    </a:cubicBezTo>
                    <a:cubicBezTo>
                      <a:pt x="1129002" y="2818751"/>
                      <a:pt x="1480438" y="1706304"/>
                      <a:pt x="1496926" y="1317283"/>
                    </a:cubicBezTo>
                    <a:cubicBezTo>
                      <a:pt x="1513415" y="928263"/>
                      <a:pt x="1860474" y="-284"/>
                      <a:pt x="1860474" y="-284"/>
                    </a:cubicBezTo>
                    <a:close/>
                  </a:path>
                </a:pathLst>
              </a:custGeom>
              <a:solidFill>
                <a:schemeClr val="accent2"/>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14" name="Freeform 70">
                <a:extLst>
                  <a:ext uri="{FF2B5EF4-FFF2-40B4-BE49-F238E27FC236}">
                    <a16:creationId xmlns:a16="http://schemas.microsoft.com/office/drawing/2014/main" id="{4E73D2EC-ADF8-46E6-A4ED-42E79EF6D72A}"/>
                  </a:ext>
                </a:extLst>
              </p:cNvPr>
              <p:cNvSpPr/>
              <p:nvPr/>
            </p:nvSpPr>
            <p:spPr>
              <a:xfrm>
                <a:off x="686293" y="4849592"/>
                <a:ext cx="1757871" cy="2866633"/>
              </a:xfrm>
              <a:custGeom>
                <a:avLst/>
                <a:gdLst>
                  <a:gd name="connsiteX0" fmla="*/ 2650268 w 3047106"/>
                  <a:gd name="connsiteY0" fmla="*/ 4608250 h 4969043"/>
                  <a:gd name="connsiteX1" fmla="*/ 1223220 w 3047106"/>
                  <a:gd name="connsiteY1" fmla="*/ 4966353 h 4969043"/>
                  <a:gd name="connsiteX2" fmla="*/ 10813 w 3047106"/>
                  <a:gd name="connsiteY2" fmla="*/ 4554654 h 4969043"/>
                  <a:gd name="connsiteX3" fmla="*/ 44884 w 3047106"/>
                  <a:gd name="connsiteY3" fmla="*/ 4265896 h 4969043"/>
                  <a:gd name="connsiteX4" fmla="*/ 327012 w 3047106"/>
                  <a:gd name="connsiteY4" fmla="*/ 1794975 h 4969043"/>
                  <a:gd name="connsiteX5" fmla="*/ 336787 w 3047106"/>
                  <a:gd name="connsiteY5" fmla="*/ 1410839 h 4969043"/>
                  <a:gd name="connsiteX6" fmla="*/ 1228692 w 3047106"/>
                  <a:gd name="connsiteY6" fmla="*/ 123168 h 4969043"/>
                  <a:gd name="connsiteX7" fmla="*/ 2528138 w 3047106"/>
                  <a:gd name="connsiteY7" fmla="*/ 254422 h 4969043"/>
                  <a:gd name="connsiteX8" fmla="*/ 3023883 w 3047106"/>
                  <a:gd name="connsiteY8" fmla="*/ 1307440 h 4969043"/>
                  <a:gd name="connsiteX9" fmla="*/ 2650268 w 3047106"/>
                  <a:gd name="connsiteY9" fmla="*/ 4608250 h 4969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7106" h="4969043">
                    <a:moveTo>
                      <a:pt x="2650268" y="4608250"/>
                    </a:moveTo>
                    <a:cubicBezTo>
                      <a:pt x="2650268" y="4608250"/>
                      <a:pt x="2059313" y="5003031"/>
                      <a:pt x="1223220" y="4966353"/>
                    </a:cubicBezTo>
                    <a:cubicBezTo>
                      <a:pt x="856244" y="4950384"/>
                      <a:pt x="128349" y="4846402"/>
                      <a:pt x="10813" y="4554654"/>
                    </a:cubicBezTo>
                    <a:cubicBezTo>
                      <a:pt x="-16765" y="4486183"/>
                      <a:pt x="3518" y="4399265"/>
                      <a:pt x="44884" y="4265896"/>
                    </a:cubicBezTo>
                    <a:cubicBezTo>
                      <a:pt x="152277" y="3919169"/>
                      <a:pt x="402376" y="3258890"/>
                      <a:pt x="327012" y="1794975"/>
                    </a:cubicBezTo>
                    <a:cubicBezTo>
                      <a:pt x="320006" y="1666871"/>
                      <a:pt x="323291" y="1538417"/>
                      <a:pt x="336787" y="1410839"/>
                    </a:cubicBezTo>
                    <a:cubicBezTo>
                      <a:pt x="415581" y="689746"/>
                      <a:pt x="829031" y="262735"/>
                      <a:pt x="1228692" y="123168"/>
                    </a:cubicBezTo>
                    <a:cubicBezTo>
                      <a:pt x="2203258" y="-217289"/>
                      <a:pt x="2528138" y="254422"/>
                      <a:pt x="2528138" y="254422"/>
                    </a:cubicBezTo>
                    <a:cubicBezTo>
                      <a:pt x="2528138" y="254422"/>
                      <a:pt x="2958952" y="595536"/>
                      <a:pt x="3023883" y="1307440"/>
                    </a:cubicBezTo>
                    <a:cubicBezTo>
                      <a:pt x="3153675" y="2731396"/>
                      <a:pt x="2650268" y="4608250"/>
                      <a:pt x="2650268" y="4608250"/>
                    </a:cubicBezTo>
                    <a:close/>
                  </a:path>
                </a:pathLst>
              </a:custGeom>
              <a:solidFill>
                <a:schemeClr val="accent1"/>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15" name="Freeform 71">
                <a:extLst>
                  <a:ext uri="{FF2B5EF4-FFF2-40B4-BE49-F238E27FC236}">
                    <a16:creationId xmlns:a16="http://schemas.microsoft.com/office/drawing/2014/main" id="{A7D41EA2-0793-9499-CB87-0AF968EC7A3B}"/>
                  </a:ext>
                </a:extLst>
              </p:cNvPr>
              <p:cNvSpPr/>
              <p:nvPr/>
            </p:nvSpPr>
            <p:spPr>
              <a:xfrm>
                <a:off x="1560921" y="4353039"/>
                <a:ext cx="622791" cy="641000"/>
              </a:xfrm>
              <a:custGeom>
                <a:avLst/>
                <a:gdLst>
                  <a:gd name="connsiteX0" fmla="*/ -1838 w 1079551"/>
                  <a:gd name="connsiteY0" fmla="*/ 902157 h 1111114"/>
                  <a:gd name="connsiteX1" fmla="*/ 930339 w 1079551"/>
                  <a:gd name="connsiteY1" fmla="*/ 1097142 h 1111114"/>
                  <a:gd name="connsiteX2" fmla="*/ 979148 w 1079551"/>
                  <a:gd name="connsiteY2" fmla="*/ 960200 h 1111114"/>
                  <a:gd name="connsiteX3" fmla="*/ 1022192 w 1079551"/>
                  <a:gd name="connsiteY3" fmla="*/ 810134 h 1111114"/>
                  <a:gd name="connsiteX4" fmla="*/ 1077713 w 1079551"/>
                  <a:gd name="connsiteY4" fmla="*/ 565200 h 1111114"/>
                  <a:gd name="connsiteX5" fmla="*/ 802445 w 1079551"/>
                  <a:gd name="connsiteY5" fmla="*/ 276077 h 1111114"/>
                  <a:gd name="connsiteX6" fmla="*/ 541768 w 1079551"/>
                  <a:gd name="connsiteY6" fmla="*/ -284 h 1111114"/>
                  <a:gd name="connsiteX7" fmla="*/ -1838 w 1079551"/>
                  <a:gd name="connsiteY7" fmla="*/ 902157 h 1111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9551" h="1111114">
                    <a:moveTo>
                      <a:pt x="-1838" y="902157"/>
                    </a:moveTo>
                    <a:cubicBezTo>
                      <a:pt x="-1838" y="902157"/>
                      <a:pt x="445318" y="1173998"/>
                      <a:pt x="930339" y="1097142"/>
                    </a:cubicBezTo>
                    <a:cubicBezTo>
                      <a:pt x="930339" y="1097142"/>
                      <a:pt x="1026278" y="1072714"/>
                      <a:pt x="979148" y="960200"/>
                    </a:cubicBezTo>
                    <a:cubicBezTo>
                      <a:pt x="996220" y="910995"/>
                      <a:pt x="1010593" y="860900"/>
                      <a:pt x="1022192" y="810134"/>
                    </a:cubicBezTo>
                    <a:cubicBezTo>
                      <a:pt x="1064726" y="654817"/>
                      <a:pt x="1077713" y="565200"/>
                      <a:pt x="1077713" y="565200"/>
                    </a:cubicBezTo>
                    <a:lnTo>
                      <a:pt x="802445" y="276077"/>
                    </a:lnTo>
                    <a:lnTo>
                      <a:pt x="541768" y="-284"/>
                    </a:lnTo>
                    <a:cubicBezTo>
                      <a:pt x="469758" y="660213"/>
                      <a:pt x="-1838" y="902157"/>
                      <a:pt x="-1838" y="902157"/>
                    </a:cubicBezTo>
                    <a:close/>
                  </a:path>
                </a:pathLst>
              </a:custGeom>
              <a:solidFill>
                <a:srgbClr val="FBD1B7"/>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16" name="Freeform 72">
                <a:extLst>
                  <a:ext uri="{FF2B5EF4-FFF2-40B4-BE49-F238E27FC236}">
                    <a16:creationId xmlns:a16="http://schemas.microsoft.com/office/drawing/2014/main" id="{FAEA5EB3-8471-018E-9FBE-0EAE6037550A}"/>
                  </a:ext>
                </a:extLst>
              </p:cNvPr>
              <p:cNvSpPr/>
              <p:nvPr/>
            </p:nvSpPr>
            <p:spPr>
              <a:xfrm>
                <a:off x="1797096" y="3866508"/>
                <a:ext cx="674869" cy="809862"/>
              </a:xfrm>
              <a:custGeom>
                <a:avLst/>
                <a:gdLst>
                  <a:gd name="connsiteX0" fmla="*/ 977154 w 1169823"/>
                  <a:gd name="connsiteY0" fmla="*/ 1394627 h 1403821"/>
                  <a:gd name="connsiteX1" fmla="*/ 63579 w 1169823"/>
                  <a:gd name="connsiteY1" fmla="*/ 976949 h 1403821"/>
                  <a:gd name="connsiteX2" fmla="*/ 395609 w 1169823"/>
                  <a:gd name="connsiteY2" fmla="*/ 23100 h 1403821"/>
                  <a:gd name="connsiteX3" fmla="*/ 1130292 w 1169823"/>
                  <a:gd name="connsiteY3" fmla="*/ 291586 h 1403821"/>
                  <a:gd name="connsiteX4" fmla="*/ 977154 w 1169823"/>
                  <a:gd name="connsiteY4" fmla="*/ 1394627 h 1403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9823" h="1403821">
                    <a:moveTo>
                      <a:pt x="977154" y="1394627"/>
                    </a:moveTo>
                    <a:cubicBezTo>
                      <a:pt x="977154" y="1394627"/>
                      <a:pt x="123552" y="1501234"/>
                      <a:pt x="63579" y="976949"/>
                    </a:cubicBezTo>
                    <a:cubicBezTo>
                      <a:pt x="3609" y="452664"/>
                      <a:pt x="-146829" y="113373"/>
                      <a:pt x="395609" y="23100"/>
                    </a:cubicBezTo>
                    <a:cubicBezTo>
                      <a:pt x="938048" y="-67174"/>
                      <a:pt x="1066817" y="121321"/>
                      <a:pt x="1130292" y="291586"/>
                    </a:cubicBezTo>
                    <a:cubicBezTo>
                      <a:pt x="1193764" y="461851"/>
                      <a:pt x="1197631" y="1353355"/>
                      <a:pt x="977154" y="1394627"/>
                    </a:cubicBezTo>
                    <a:close/>
                  </a:path>
                </a:pathLst>
              </a:custGeom>
              <a:solidFill>
                <a:srgbClr val="FBD1B7"/>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17" name="Freeform 73">
                <a:extLst>
                  <a:ext uri="{FF2B5EF4-FFF2-40B4-BE49-F238E27FC236}">
                    <a16:creationId xmlns:a16="http://schemas.microsoft.com/office/drawing/2014/main" id="{66D59B5E-AB8E-E7F8-F140-86D68A540AD3}"/>
                  </a:ext>
                </a:extLst>
              </p:cNvPr>
              <p:cNvSpPr/>
              <p:nvPr/>
            </p:nvSpPr>
            <p:spPr>
              <a:xfrm>
                <a:off x="1642405" y="3679277"/>
                <a:ext cx="1001562" cy="762017"/>
              </a:xfrm>
              <a:custGeom>
                <a:avLst/>
                <a:gdLst>
                  <a:gd name="connsiteX0" fmla="*/ 62511 w 1736115"/>
                  <a:gd name="connsiteY0" fmla="*/ 262480 h 1320886"/>
                  <a:gd name="connsiteX1" fmla="*/ -1838 w 1736115"/>
                  <a:gd name="connsiteY1" fmla="*/ 241916 h 1320886"/>
                  <a:gd name="connsiteX2" fmla="*/ 72870 w 1736115"/>
                  <a:gd name="connsiteY2" fmla="*/ 223905 h 1320886"/>
                  <a:gd name="connsiteX3" fmla="*/ 211489 w 1736115"/>
                  <a:gd name="connsiteY3" fmla="*/ 53057 h 1320886"/>
                  <a:gd name="connsiteX4" fmla="*/ 150717 w 1736115"/>
                  <a:gd name="connsiteY4" fmla="*/ 136403 h 1320886"/>
                  <a:gd name="connsiteX5" fmla="*/ 1150671 w 1736115"/>
                  <a:gd name="connsiteY5" fmla="*/ 30963 h 1320886"/>
                  <a:gd name="connsiteX6" fmla="*/ 1588415 w 1736115"/>
                  <a:gd name="connsiteY6" fmla="*/ 729742 h 1320886"/>
                  <a:gd name="connsiteX7" fmla="*/ 995273 w 1736115"/>
                  <a:gd name="connsiteY7" fmla="*/ 609718 h 1320886"/>
                  <a:gd name="connsiteX8" fmla="*/ 665723 w 1736115"/>
                  <a:gd name="connsiteY8" fmla="*/ 953603 h 1320886"/>
                  <a:gd name="connsiteX9" fmla="*/ 531116 w 1736115"/>
                  <a:gd name="connsiteY9" fmla="*/ 874121 h 1320886"/>
                  <a:gd name="connsiteX10" fmla="*/ 446485 w 1736115"/>
                  <a:gd name="connsiteY10" fmla="*/ 1087627 h 1320886"/>
                  <a:gd name="connsiteX11" fmla="*/ 334570 w 1736115"/>
                  <a:gd name="connsiteY11" fmla="*/ 1320602 h 1320886"/>
                  <a:gd name="connsiteX12" fmla="*/ 208426 w 1736115"/>
                  <a:gd name="connsiteY12" fmla="*/ 1173890 h 1320886"/>
                  <a:gd name="connsiteX13" fmla="*/ 45365 w 1736115"/>
                  <a:gd name="connsiteY13" fmla="*/ 296095 h 1320886"/>
                  <a:gd name="connsiteX14" fmla="*/ 62511 w 1736115"/>
                  <a:gd name="connsiteY14" fmla="*/ 262480 h 132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36115" h="1320886">
                    <a:moveTo>
                      <a:pt x="62511" y="262480"/>
                    </a:moveTo>
                    <a:cubicBezTo>
                      <a:pt x="55215" y="253365"/>
                      <a:pt x="37633" y="245562"/>
                      <a:pt x="-1838" y="241916"/>
                    </a:cubicBezTo>
                    <a:cubicBezTo>
                      <a:pt x="21218" y="229958"/>
                      <a:pt x="46899" y="223774"/>
                      <a:pt x="72870" y="223905"/>
                    </a:cubicBezTo>
                    <a:cubicBezTo>
                      <a:pt x="83158" y="169289"/>
                      <a:pt x="116062" y="73110"/>
                      <a:pt x="211489" y="53057"/>
                    </a:cubicBezTo>
                    <a:cubicBezTo>
                      <a:pt x="211489" y="53057"/>
                      <a:pt x="159618" y="78214"/>
                      <a:pt x="150717" y="136403"/>
                    </a:cubicBezTo>
                    <a:cubicBezTo>
                      <a:pt x="264603" y="28046"/>
                      <a:pt x="502445" y="-44946"/>
                      <a:pt x="1150671" y="30963"/>
                    </a:cubicBezTo>
                    <a:cubicBezTo>
                      <a:pt x="2005003" y="130934"/>
                      <a:pt x="1701864" y="668564"/>
                      <a:pt x="1588415" y="729742"/>
                    </a:cubicBezTo>
                    <a:cubicBezTo>
                      <a:pt x="1474968" y="790921"/>
                      <a:pt x="1202617" y="601114"/>
                      <a:pt x="995273" y="609718"/>
                    </a:cubicBezTo>
                    <a:cubicBezTo>
                      <a:pt x="787926" y="618322"/>
                      <a:pt x="737367" y="915320"/>
                      <a:pt x="665723" y="953603"/>
                    </a:cubicBezTo>
                    <a:cubicBezTo>
                      <a:pt x="594080" y="991885"/>
                      <a:pt x="624356" y="920570"/>
                      <a:pt x="531116" y="874121"/>
                    </a:cubicBezTo>
                    <a:cubicBezTo>
                      <a:pt x="437877" y="827672"/>
                      <a:pt x="422920" y="984447"/>
                      <a:pt x="446485" y="1087627"/>
                    </a:cubicBezTo>
                    <a:cubicBezTo>
                      <a:pt x="470052" y="1190807"/>
                      <a:pt x="334570" y="1320602"/>
                      <a:pt x="334570" y="1320602"/>
                    </a:cubicBezTo>
                    <a:lnTo>
                      <a:pt x="208426" y="1173890"/>
                    </a:lnTo>
                    <a:cubicBezTo>
                      <a:pt x="82063" y="1027104"/>
                      <a:pt x="-19347" y="421880"/>
                      <a:pt x="45365" y="296095"/>
                    </a:cubicBezTo>
                    <a:cubicBezTo>
                      <a:pt x="50764" y="285011"/>
                      <a:pt x="56455" y="273782"/>
                      <a:pt x="62511" y="262480"/>
                    </a:cubicBezTo>
                    <a:close/>
                  </a:path>
                </a:pathLst>
              </a:custGeom>
              <a:solidFill>
                <a:schemeClr val="tx2"/>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18" name="Freeform 74">
                <a:extLst>
                  <a:ext uri="{FF2B5EF4-FFF2-40B4-BE49-F238E27FC236}">
                    <a16:creationId xmlns:a16="http://schemas.microsoft.com/office/drawing/2014/main" id="{177FE6BD-CBFC-2348-D3CC-115239AEAE2A}"/>
                  </a:ext>
                </a:extLst>
              </p:cNvPr>
              <p:cNvSpPr/>
              <p:nvPr/>
            </p:nvSpPr>
            <p:spPr>
              <a:xfrm>
                <a:off x="2341630" y="4130758"/>
                <a:ext cx="841696" cy="190268"/>
              </a:xfrm>
              <a:custGeom>
                <a:avLst/>
                <a:gdLst>
                  <a:gd name="connsiteX0" fmla="*/ 1459003 w 1459002"/>
                  <a:gd name="connsiteY0" fmla="*/ 316904 h 329811"/>
                  <a:gd name="connsiteX1" fmla="*/ 9850 w 1459002"/>
                  <a:gd name="connsiteY1" fmla="*/ 329811 h 329811"/>
                  <a:gd name="connsiteX2" fmla="*/ 0 w 1459002"/>
                  <a:gd name="connsiteY2" fmla="*/ 111930 h 329811"/>
                  <a:gd name="connsiteX3" fmla="*/ 1444631 w 1459002"/>
                  <a:gd name="connsiteY3" fmla="*/ 0 h 329811"/>
                  <a:gd name="connsiteX4" fmla="*/ 1459003 w 1459002"/>
                  <a:gd name="connsiteY4" fmla="*/ 316904 h 329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9002" h="329811">
                    <a:moveTo>
                      <a:pt x="1459003" y="316904"/>
                    </a:moveTo>
                    <a:lnTo>
                      <a:pt x="9850" y="329811"/>
                    </a:lnTo>
                    <a:lnTo>
                      <a:pt x="0" y="111930"/>
                    </a:lnTo>
                    <a:lnTo>
                      <a:pt x="1444631" y="0"/>
                    </a:lnTo>
                    <a:lnTo>
                      <a:pt x="1459003" y="316904"/>
                    </a:lnTo>
                    <a:close/>
                  </a:path>
                </a:pathLst>
              </a:custGeom>
              <a:solidFill>
                <a:schemeClr val="accent2"/>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19" name="Freeform 75">
                <a:extLst>
                  <a:ext uri="{FF2B5EF4-FFF2-40B4-BE49-F238E27FC236}">
                    <a16:creationId xmlns:a16="http://schemas.microsoft.com/office/drawing/2014/main" id="{B1053815-9372-BA49-6AB4-C7CEF8198F2C}"/>
                  </a:ext>
                </a:extLst>
              </p:cNvPr>
              <p:cNvSpPr/>
              <p:nvPr/>
            </p:nvSpPr>
            <p:spPr>
              <a:xfrm>
                <a:off x="2893796" y="4048897"/>
                <a:ext cx="920614" cy="298842"/>
              </a:xfrm>
              <a:custGeom>
                <a:avLst/>
                <a:gdLst>
                  <a:gd name="connsiteX0" fmla="*/ 1595798 w 1595798"/>
                  <a:gd name="connsiteY0" fmla="*/ 495191 h 518014"/>
                  <a:gd name="connsiteX1" fmla="*/ 18021 w 1595798"/>
                  <a:gd name="connsiteY1" fmla="*/ 518014 h 518014"/>
                  <a:gd name="connsiteX2" fmla="*/ 0 w 1595798"/>
                  <a:gd name="connsiteY2" fmla="*/ 121847 h 518014"/>
                  <a:gd name="connsiteX3" fmla="*/ 1573255 w 1595798"/>
                  <a:gd name="connsiteY3" fmla="*/ 0 h 518014"/>
                  <a:gd name="connsiteX4" fmla="*/ 1595798 w 1595798"/>
                  <a:gd name="connsiteY4" fmla="*/ 495191 h 518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5798" h="518014">
                    <a:moveTo>
                      <a:pt x="1595798" y="495191"/>
                    </a:moveTo>
                    <a:lnTo>
                      <a:pt x="18021" y="518014"/>
                    </a:lnTo>
                    <a:lnTo>
                      <a:pt x="0" y="121847"/>
                    </a:lnTo>
                    <a:lnTo>
                      <a:pt x="1573255" y="0"/>
                    </a:lnTo>
                    <a:lnTo>
                      <a:pt x="1595798" y="495191"/>
                    </a:lnTo>
                    <a:close/>
                  </a:path>
                </a:pathLst>
              </a:custGeom>
              <a:solidFill>
                <a:schemeClr val="accent2"/>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20" name="Freeform 76">
                <a:extLst>
                  <a:ext uri="{FF2B5EF4-FFF2-40B4-BE49-F238E27FC236}">
                    <a16:creationId xmlns:a16="http://schemas.microsoft.com/office/drawing/2014/main" id="{BA603B20-AF50-50E9-D8BD-0F85CBC6BEEB}"/>
                  </a:ext>
                </a:extLst>
              </p:cNvPr>
              <p:cNvSpPr/>
              <p:nvPr/>
            </p:nvSpPr>
            <p:spPr>
              <a:xfrm>
                <a:off x="3646559" y="3975406"/>
                <a:ext cx="781593" cy="378053"/>
              </a:xfrm>
              <a:custGeom>
                <a:avLst/>
                <a:gdLst>
                  <a:gd name="connsiteX0" fmla="*/ 1354820 w 1354819"/>
                  <a:gd name="connsiteY0" fmla="*/ 653643 h 655320"/>
                  <a:gd name="connsiteX1" fmla="*/ 24295 w 1354819"/>
                  <a:gd name="connsiteY1" fmla="*/ 655320 h 655320"/>
                  <a:gd name="connsiteX2" fmla="*/ 0 w 1354819"/>
                  <a:gd name="connsiteY2" fmla="*/ 120535 h 655320"/>
                  <a:gd name="connsiteX3" fmla="*/ 1325053 w 1354819"/>
                  <a:gd name="connsiteY3" fmla="*/ 0 h 655320"/>
                  <a:gd name="connsiteX4" fmla="*/ 1354820 w 1354819"/>
                  <a:gd name="connsiteY4" fmla="*/ 653643 h 65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819" h="655320">
                    <a:moveTo>
                      <a:pt x="1354820" y="653643"/>
                    </a:moveTo>
                    <a:lnTo>
                      <a:pt x="24295" y="655320"/>
                    </a:lnTo>
                    <a:lnTo>
                      <a:pt x="0" y="120535"/>
                    </a:lnTo>
                    <a:lnTo>
                      <a:pt x="1325053" y="0"/>
                    </a:lnTo>
                    <a:lnTo>
                      <a:pt x="1354820" y="653643"/>
                    </a:lnTo>
                    <a:close/>
                  </a:path>
                </a:pathLst>
              </a:custGeom>
              <a:solidFill>
                <a:schemeClr val="accent2"/>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21" name="Freeform 78">
                <a:extLst>
                  <a:ext uri="{FF2B5EF4-FFF2-40B4-BE49-F238E27FC236}">
                    <a16:creationId xmlns:a16="http://schemas.microsoft.com/office/drawing/2014/main" id="{D2F86513-1073-193D-2546-90E5B8264A7F}"/>
                  </a:ext>
                </a:extLst>
              </p:cNvPr>
              <p:cNvSpPr/>
              <p:nvPr/>
            </p:nvSpPr>
            <p:spPr>
              <a:xfrm>
                <a:off x="4376213" y="3922526"/>
                <a:ext cx="103836" cy="482132"/>
              </a:xfrm>
              <a:custGeom>
                <a:avLst/>
                <a:gdLst>
                  <a:gd name="connsiteX0" fmla="*/ 107162 w 179990"/>
                  <a:gd name="connsiteY0" fmla="*/ 835368 h 835730"/>
                  <a:gd name="connsiteX1" fmla="*/ 107162 w 179990"/>
                  <a:gd name="connsiteY1" fmla="*/ 835368 h 835730"/>
                  <a:gd name="connsiteX2" fmla="*/ 178078 w 179990"/>
                  <a:gd name="connsiteY2" fmla="*/ 757709 h 835730"/>
                  <a:gd name="connsiteX3" fmla="*/ 146852 w 179990"/>
                  <a:gd name="connsiteY3" fmla="*/ 70670 h 835730"/>
                  <a:gd name="connsiteX4" fmla="*/ 69151 w 179990"/>
                  <a:gd name="connsiteY4" fmla="*/ -207 h 835730"/>
                  <a:gd name="connsiteX5" fmla="*/ 69151 w 179990"/>
                  <a:gd name="connsiteY5" fmla="*/ -207 h 835730"/>
                  <a:gd name="connsiteX6" fmla="*/ -1763 w 179990"/>
                  <a:gd name="connsiteY6" fmla="*/ 77451 h 835730"/>
                  <a:gd name="connsiteX7" fmla="*/ 29463 w 179990"/>
                  <a:gd name="connsiteY7" fmla="*/ 764126 h 835730"/>
                  <a:gd name="connsiteX8" fmla="*/ 106871 w 179990"/>
                  <a:gd name="connsiteY8" fmla="*/ 835382 h 835730"/>
                  <a:gd name="connsiteX9" fmla="*/ 107162 w 179990"/>
                  <a:gd name="connsiteY9" fmla="*/ 835368 h 83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990" h="835730">
                    <a:moveTo>
                      <a:pt x="107162" y="835368"/>
                    </a:moveTo>
                    <a:lnTo>
                      <a:pt x="107162" y="835368"/>
                    </a:lnTo>
                    <a:cubicBezTo>
                      <a:pt x="148165" y="833479"/>
                      <a:pt x="179902" y="798719"/>
                      <a:pt x="178078" y="757709"/>
                    </a:cubicBezTo>
                    <a:lnTo>
                      <a:pt x="146852" y="70670"/>
                    </a:lnTo>
                    <a:cubicBezTo>
                      <a:pt x="144955" y="29660"/>
                      <a:pt x="110154" y="-2059"/>
                      <a:pt x="69151" y="-207"/>
                    </a:cubicBezTo>
                    <a:lnTo>
                      <a:pt x="69151" y="-207"/>
                    </a:lnTo>
                    <a:cubicBezTo>
                      <a:pt x="28150" y="1681"/>
                      <a:pt x="-3587" y="36442"/>
                      <a:pt x="-1763" y="77451"/>
                    </a:cubicBezTo>
                    <a:lnTo>
                      <a:pt x="29463" y="764126"/>
                    </a:lnTo>
                    <a:cubicBezTo>
                      <a:pt x="31141" y="805172"/>
                      <a:pt x="65795" y="837067"/>
                      <a:pt x="106871" y="835382"/>
                    </a:cubicBezTo>
                    <a:cubicBezTo>
                      <a:pt x="106944" y="835375"/>
                      <a:pt x="107089" y="835375"/>
                      <a:pt x="107162" y="835368"/>
                    </a:cubicBezTo>
                    <a:close/>
                  </a:path>
                </a:pathLst>
              </a:custGeom>
              <a:solidFill>
                <a:schemeClr val="accent2">
                  <a:lumMod val="50000"/>
                </a:schemeClr>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22" name="Freeform 79">
                <a:extLst>
                  <a:ext uri="{FF2B5EF4-FFF2-40B4-BE49-F238E27FC236}">
                    <a16:creationId xmlns:a16="http://schemas.microsoft.com/office/drawing/2014/main" id="{95E6CD37-FCE7-3237-9440-C6D47CB4F2CE}"/>
                  </a:ext>
                </a:extLst>
              </p:cNvPr>
              <p:cNvSpPr/>
              <p:nvPr/>
            </p:nvSpPr>
            <p:spPr>
              <a:xfrm>
                <a:off x="2300005" y="4168791"/>
                <a:ext cx="80977" cy="179113"/>
              </a:xfrm>
              <a:custGeom>
                <a:avLst/>
                <a:gdLst>
                  <a:gd name="connsiteX0" fmla="*/ 75350 w 140366"/>
                  <a:gd name="connsiteY0" fmla="*/ 310123 h 310475"/>
                  <a:gd name="connsiteX1" fmla="*/ 75350 w 140366"/>
                  <a:gd name="connsiteY1" fmla="*/ 310123 h 310475"/>
                  <a:gd name="connsiteX2" fmla="*/ 6332 w 140366"/>
                  <a:gd name="connsiteY2" fmla="*/ 247121 h 310475"/>
                  <a:gd name="connsiteX3" fmla="*/ -1767 w 140366"/>
                  <a:gd name="connsiteY3" fmla="*/ 68835 h 310475"/>
                  <a:gd name="connsiteX4" fmla="*/ 61269 w 140366"/>
                  <a:gd name="connsiteY4" fmla="*/ -219 h 310475"/>
                  <a:gd name="connsiteX5" fmla="*/ 61269 w 140366"/>
                  <a:gd name="connsiteY5" fmla="*/ -219 h 310475"/>
                  <a:gd name="connsiteX6" fmla="*/ 130360 w 140366"/>
                  <a:gd name="connsiteY6" fmla="*/ 62855 h 310475"/>
                  <a:gd name="connsiteX7" fmla="*/ 138457 w 140366"/>
                  <a:gd name="connsiteY7" fmla="*/ 241142 h 310475"/>
                  <a:gd name="connsiteX8" fmla="*/ 75423 w 140366"/>
                  <a:gd name="connsiteY8" fmla="*/ 310123 h 310475"/>
                  <a:gd name="connsiteX9" fmla="*/ 75350 w 140366"/>
                  <a:gd name="connsiteY9" fmla="*/ 310123 h 31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366" h="310475">
                    <a:moveTo>
                      <a:pt x="75350" y="310123"/>
                    </a:moveTo>
                    <a:lnTo>
                      <a:pt x="75350" y="310123"/>
                    </a:lnTo>
                    <a:cubicBezTo>
                      <a:pt x="38871" y="311771"/>
                      <a:pt x="8010" y="283566"/>
                      <a:pt x="6332" y="247121"/>
                    </a:cubicBezTo>
                    <a:lnTo>
                      <a:pt x="-1767" y="68835"/>
                    </a:lnTo>
                    <a:cubicBezTo>
                      <a:pt x="-3445" y="32375"/>
                      <a:pt x="24791" y="1472"/>
                      <a:pt x="61269" y="-219"/>
                    </a:cubicBezTo>
                    <a:lnTo>
                      <a:pt x="61269" y="-219"/>
                    </a:lnTo>
                    <a:cubicBezTo>
                      <a:pt x="97748" y="-1823"/>
                      <a:pt x="128682" y="26389"/>
                      <a:pt x="130360" y="62855"/>
                    </a:cubicBezTo>
                    <a:lnTo>
                      <a:pt x="138457" y="241142"/>
                    </a:lnTo>
                    <a:cubicBezTo>
                      <a:pt x="140135" y="277594"/>
                      <a:pt x="111901" y="308475"/>
                      <a:pt x="75423" y="310123"/>
                    </a:cubicBezTo>
                    <a:cubicBezTo>
                      <a:pt x="75423" y="310123"/>
                      <a:pt x="75350" y="310123"/>
                      <a:pt x="75350" y="310123"/>
                    </a:cubicBezTo>
                    <a:close/>
                  </a:path>
                </a:pathLst>
              </a:custGeom>
              <a:solidFill>
                <a:schemeClr val="accent2">
                  <a:lumMod val="50000"/>
                </a:schemeClr>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23" name="Freeform 80">
                <a:extLst>
                  <a:ext uri="{FF2B5EF4-FFF2-40B4-BE49-F238E27FC236}">
                    <a16:creationId xmlns:a16="http://schemas.microsoft.com/office/drawing/2014/main" id="{5FA9A11E-BD54-D854-7138-72A3A2823F24}"/>
                  </a:ext>
                </a:extLst>
              </p:cNvPr>
              <p:cNvSpPr/>
              <p:nvPr/>
            </p:nvSpPr>
            <p:spPr>
              <a:xfrm>
                <a:off x="-255980" y="4873655"/>
                <a:ext cx="2059282" cy="2481560"/>
              </a:xfrm>
              <a:custGeom>
                <a:avLst/>
                <a:gdLst>
                  <a:gd name="connsiteX0" fmla="*/ 3147590 w 3569575"/>
                  <a:gd name="connsiteY0" fmla="*/ -284 h 4301554"/>
                  <a:gd name="connsiteX1" fmla="*/ 1896223 w 3569575"/>
                  <a:gd name="connsiteY1" fmla="*/ 664369 h 4301554"/>
                  <a:gd name="connsiteX2" fmla="*/ 614141 w 3569575"/>
                  <a:gd name="connsiteY2" fmla="*/ 2184140 h 4301554"/>
                  <a:gd name="connsiteX3" fmla="*/ -1838 w 3569575"/>
                  <a:gd name="connsiteY3" fmla="*/ 4201216 h 4301554"/>
                  <a:gd name="connsiteX4" fmla="*/ 152904 w 3569575"/>
                  <a:gd name="connsiteY4" fmla="*/ 4290687 h 4301554"/>
                  <a:gd name="connsiteX5" fmla="*/ 359228 w 3569575"/>
                  <a:gd name="connsiteY5" fmla="*/ 4273332 h 4301554"/>
                  <a:gd name="connsiteX6" fmla="*/ 1185033 w 3569575"/>
                  <a:gd name="connsiteY6" fmla="*/ 2734311 h 4301554"/>
                  <a:gd name="connsiteX7" fmla="*/ 3511500 w 3569575"/>
                  <a:gd name="connsiteY7" fmla="*/ 1765003 h 4301554"/>
                  <a:gd name="connsiteX8" fmla="*/ 3147590 w 3569575"/>
                  <a:gd name="connsiteY8" fmla="*/ -284 h 4301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69575" h="4301554">
                    <a:moveTo>
                      <a:pt x="3147590" y="-284"/>
                    </a:moveTo>
                    <a:cubicBezTo>
                      <a:pt x="3147590" y="-284"/>
                      <a:pt x="2325140" y="140959"/>
                      <a:pt x="1896223" y="664369"/>
                    </a:cubicBezTo>
                    <a:cubicBezTo>
                      <a:pt x="1467306" y="1187779"/>
                      <a:pt x="777275" y="1925862"/>
                      <a:pt x="614141" y="2184140"/>
                    </a:cubicBezTo>
                    <a:cubicBezTo>
                      <a:pt x="451008" y="2442418"/>
                      <a:pt x="-1838" y="4201216"/>
                      <a:pt x="-1838" y="4201216"/>
                    </a:cubicBezTo>
                    <a:cubicBezTo>
                      <a:pt x="-1838" y="4201216"/>
                      <a:pt x="28001" y="4257801"/>
                      <a:pt x="152904" y="4290687"/>
                    </a:cubicBezTo>
                    <a:cubicBezTo>
                      <a:pt x="272482" y="4322188"/>
                      <a:pt x="359228" y="4273332"/>
                      <a:pt x="359228" y="4273332"/>
                    </a:cubicBezTo>
                    <a:cubicBezTo>
                      <a:pt x="359228" y="4273332"/>
                      <a:pt x="959230" y="3247002"/>
                      <a:pt x="1185033" y="2734311"/>
                    </a:cubicBezTo>
                    <a:cubicBezTo>
                      <a:pt x="1278857" y="2521243"/>
                      <a:pt x="2901504" y="1677647"/>
                      <a:pt x="3511500" y="1765003"/>
                    </a:cubicBezTo>
                    <a:cubicBezTo>
                      <a:pt x="3751093" y="1799348"/>
                      <a:pt x="3147590" y="-284"/>
                      <a:pt x="3147590" y="-284"/>
                    </a:cubicBezTo>
                    <a:close/>
                  </a:path>
                </a:pathLst>
              </a:custGeom>
              <a:solidFill>
                <a:schemeClr val="accent1"/>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24" name="Freeform 83">
                <a:extLst>
                  <a:ext uri="{FF2B5EF4-FFF2-40B4-BE49-F238E27FC236}">
                    <a16:creationId xmlns:a16="http://schemas.microsoft.com/office/drawing/2014/main" id="{7336A072-6F01-7945-6FB3-0B673E2B078F}"/>
                  </a:ext>
                </a:extLst>
              </p:cNvPr>
              <p:cNvSpPr/>
              <p:nvPr/>
            </p:nvSpPr>
            <p:spPr>
              <a:xfrm>
                <a:off x="3178361" y="4061298"/>
                <a:ext cx="218855" cy="76004"/>
              </a:xfrm>
              <a:custGeom>
                <a:avLst/>
                <a:gdLst>
                  <a:gd name="connsiteX0" fmla="*/ -1838 w 379365"/>
                  <a:gd name="connsiteY0" fmla="*/ 57772 h 131746"/>
                  <a:gd name="connsiteX1" fmla="*/ 280799 w 379365"/>
                  <a:gd name="connsiteY1" fmla="*/ 120191 h 131746"/>
                  <a:gd name="connsiteX2" fmla="*/ 377322 w 379365"/>
                  <a:gd name="connsiteY2" fmla="*/ 32688 h 131746"/>
                  <a:gd name="connsiteX3" fmla="*/ -1838 w 379365"/>
                  <a:gd name="connsiteY3" fmla="*/ 57772 h 131746"/>
                </a:gdLst>
                <a:ahLst/>
                <a:cxnLst>
                  <a:cxn ang="0">
                    <a:pos x="connsiteX0" y="connsiteY0"/>
                  </a:cxn>
                  <a:cxn ang="0">
                    <a:pos x="connsiteX1" y="connsiteY1"/>
                  </a:cxn>
                  <a:cxn ang="0">
                    <a:pos x="connsiteX2" y="connsiteY2"/>
                  </a:cxn>
                  <a:cxn ang="0">
                    <a:pos x="connsiteX3" y="connsiteY3"/>
                  </a:cxn>
                </a:cxnLst>
                <a:rect l="l" t="t" r="r" b="b"/>
                <a:pathLst>
                  <a:path w="379365" h="131746">
                    <a:moveTo>
                      <a:pt x="-1838" y="57772"/>
                    </a:moveTo>
                    <a:cubicBezTo>
                      <a:pt x="-1838" y="57772"/>
                      <a:pt x="175011" y="165911"/>
                      <a:pt x="280799" y="120191"/>
                    </a:cubicBezTo>
                    <a:cubicBezTo>
                      <a:pt x="386587" y="74471"/>
                      <a:pt x="377322" y="32688"/>
                      <a:pt x="377322" y="32688"/>
                    </a:cubicBezTo>
                    <a:cubicBezTo>
                      <a:pt x="377322" y="32688"/>
                      <a:pt x="57622" y="-56127"/>
                      <a:pt x="-1838" y="57772"/>
                    </a:cubicBezTo>
                    <a:close/>
                  </a:path>
                </a:pathLst>
              </a:custGeom>
              <a:solidFill>
                <a:srgbClr val="FBD1B7"/>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25" name="Freeform 110">
                <a:extLst>
                  <a:ext uri="{FF2B5EF4-FFF2-40B4-BE49-F238E27FC236}">
                    <a16:creationId xmlns:a16="http://schemas.microsoft.com/office/drawing/2014/main" id="{8C859052-0429-B951-6D9C-8F57F9DE8824}"/>
                  </a:ext>
                </a:extLst>
              </p:cNvPr>
              <p:cNvSpPr/>
              <p:nvPr/>
            </p:nvSpPr>
            <p:spPr>
              <a:xfrm>
                <a:off x="174845" y="5181162"/>
                <a:ext cx="1942172" cy="2084781"/>
              </a:xfrm>
              <a:custGeom>
                <a:avLst/>
                <a:gdLst>
                  <a:gd name="connsiteX0" fmla="*/ 3198805 w 3366575"/>
                  <a:gd name="connsiteY0" fmla="*/ 40040 h 3613775"/>
                  <a:gd name="connsiteX1" fmla="*/ 277151 w 3366575"/>
                  <a:gd name="connsiteY1" fmla="*/ 2980558 h 3613775"/>
                  <a:gd name="connsiteX2" fmla="*/ -1838 w 3366575"/>
                  <a:gd name="connsiteY2" fmla="*/ 3530656 h 3613775"/>
                  <a:gd name="connsiteX3" fmla="*/ 488217 w 3366575"/>
                  <a:gd name="connsiteY3" fmla="*/ 3613491 h 3613775"/>
                  <a:gd name="connsiteX4" fmla="*/ 3364345 w 3366575"/>
                  <a:gd name="connsiteY4" fmla="*/ -284 h 3613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6575" h="3613775">
                    <a:moveTo>
                      <a:pt x="3198805" y="40040"/>
                    </a:moveTo>
                    <a:cubicBezTo>
                      <a:pt x="3198805" y="40040"/>
                      <a:pt x="2837885" y="2317508"/>
                      <a:pt x="277151" y="2980558"/>
                    </a:cubicBezTo>
                    <a:lnTo>
                      <a:pt x="-1838" y="3530656"/>
                    </a:lnTo>
                    <a:lnTo>
                      <a:pt x="488217" y="3613491"/>
                    </a:lnTo>
                    <a:cubicBezTo>
                      <a:pt x="488217" y="3613491"/>
                      <a:pt x="3403597" y="2769385"/>
                      <a:pt x="3364345" y="-284"/>
                    </a:cubicBezTo>
                    <a:close/>
                  </a:path>
                </a:pathLst>
              </a:custGeom>
              <a:solidFill>
                <a:schemeClr val="accent1">
                  <a:lumMod val="50000"/>
                </a:schemeClr>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26" name="Freeform 111">
                <a:extLst>
                  <a:ext uri="{FF2B5EF4-FFF2-40B4-BE49-F238E27FC236}">
                    <a16:creationId xmlns:a16="http://schemas.microsoft.com/office/drawing/2014/main" id="{038CA099-FD7F-5263-ED0E-5B1A53D34C2D}"/>
                  </a:ext>
                </a:extLst>
              </p:cNvPr>
              <p:cNvSpPr/>
              <p:nvPr/>
            </p:nvSpPr>
            <p:spPr>
              <a:xfrm>
                <a:off x="1920866" y="4994681"/>
                <a:ext cx="195966" cy="209702"/>
              </a:xfrm>
              <a:custGeom>
                <a:avLst/>
                <a:gdLst>
                  <a:gd name="connsiteX0" fmla="*/ 118191 w 339689"/>
                  <a:gd name="connsiteY0" fmla="*/ 0 h 363499"/>
                  <a:gd name="connsiteX1" fmla="*/ 0 w 339689"/>
                  <a:gd name="connsiteY1" fmla="*/ 11594 h 363499"/>
                  <a:gd name="connsiteX2" fmla="*/ 0 w 339689"/>
                  <a:gd name="connsiteY2" fmla="*/ 182588 h 363499"/>
                  <a:gd name="connsiteX3" fmla="*/ 174149 w 339689"/>
                  <a:gd name="connsiteY3" fmla="*/ 363499 h 363499"/>
                  <a:gd name="connsiteX4" fmla="*/ 339690 w 339689"/>
                  <a:gd name="connsiteY4" fmla="*/ 323248 h 363499"/>
                  <a:gd name="connsiteX5" fmla="*/ 339690 w 339689"/>
                  <a:gd name="connsiteY5" fmla="*/ 85898 h 363499"/>
                  <a:gd name="connsiteX6" fmla="*/ 220696 w 339689"/>
                  <a:gd name="connsiteY6" fmla="*/ 0 h 363499"/>
                  <a:gd name="connsiteX7" fmla="*/ 118191 w 339689"/>
                  <a:gd name="connsiteY7" fmla="*/ 0 h 36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689" h="363499">
                    <a:moveTo>
                      <a:pt x="118191" y="0"/>
                    </a:moveTo>
                    <a:lnTo>
                      <a:pt x="0" y="11594"/>
                    </a:lnTo>
                    <a:lnTo>
                      <a:pt x="0" y="182588"/>
                    </a:lnTo>
                    <a:lnTo>
                      <a:pt x="174149" y="363499"/>
                    </a:lnTo>
                    <a:lnTo>
                      <a:pt x="339690" y="323248"/>
                    </a:lnTo>
                    <a:lnTo>
                      <a:pt x="339690" y="85898"/>
                    </a:lnTo>
                    <a:lnTo>
                      <a:pt x="220696" y="0"/>
                    </a:lnTo>
                    <a:lnTo>
                      <a:pt x="118191" y="0"/>
                    </a:lnTo>
                    <a:close/>
                  </a:path>
                </a:pathLst>
              </a:custGeom>
              <a:solidFill>
                <a:schemeClr val="accent1">
                  <a:lumMod val="50000"/>
                </a:schemeClr>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27" name="Freeform 112">
                <a:extLst>
                  <a:ext uri="{FF2B5EF4-FFF2-40B4-BE49-F238E27FC236}">
                    <a16:creationId xmlns:a16="http://schemas.microsoft.com/office/drawing/2014/main" id="{07264BCB-5E1C-33D7-85E8-83C4B437FAA9}"/>
                  </a:ext>
                </a:extLst>
              </p:cNvPr>
              <p:cNvSpPr/>
              <p:nvPr/>
            </p:nvSpPr>
            <p:spPr>
              <a:xfrm>
                <a:off x="1504689" y="4733405"/>
                <a:ext cx="484529" cy="496765"/>
              </a:xfrm>
              <a:custGeom>
                <a:avLst/>
                <a:gdLst>
                  <a:gd name="connsiteX0" fmla="*/ 374185 w 839886"/>
                  <a:gd name="connsiteY0" fmla="*/ -284 h 861096"/>
                  <a:gd name="connsiteX1" fmla="*/ -1838 w 839886"/>
                  <a:gd name="connsiteY1" fmla="*/ 242827 h 861096"/>
                  <a:gd name="connsiteX2" fmla="*/ 807188 w 839886"/>
                  <a:gd name="connsiteY2" fmla="*/ 860812 h 861096"/>
                  <a:gd name="connsiteX3" fmla="*/ 838049 w 839886"/>
                  <a:gd name="connsiteY3" fmla="*/ 452468 h 861096"/>
                  <a:gd name="connsiteX4" fmla="*/ 374185 w 839886"/>
                  <a:gd name="connsiteY4" fmla="*/ -284 h 861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9886" h="861096">
                    <a:moveTo>
                      <a:pt x="374185" y="-284"/>
                    </a:moveTo>
                    <a:cubicBezTo>
                      <a:pt x="374185" y="-284"/>
                      <a:pt x="259788" y="25529"/>
                      <a:pt x="-1838" y="242827"/>
                    </a:cubicBezTo>
                    <a:cubicBezTo>
                      <a:pt x="-1838" y="242827"/>
                      <a:pt x="258329" y="794675"/>
                      <a:pt x="807188" y="860812"/>
                    </a:cubicBezTo>
                    <a:cubicBezTo>
                      <a:pt x="807188" y="860812"/>
                      <a:pt x="798359" y="604649"/>
                      <a:pt x="838049" y="452468"/>
                    </a:cubicBezTo>
                    <a:cubicBezTo>
                      <a:pt x="837757" y="452322"/>
                      <a:pt x="402711" y="297005"/>
                      <a:pt x="374185" y="-284"/>
                    </a:cubicBezTo>
                    <a:close/>
                  </a:path>
                </a:pathLst>
              </a:custGeom>
              <a:solidFill>
                <a:schemeClr val="accent1">
                  <a:lumMod val="75000"/>
                </a:schemeClr>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sp>
            <p:nvSpPr>
              <p:cNvPr id="28" name="Freeform 113">
                <a:extLst>
                  <a:ext uri="{FF2B5EF4-FFF2-40B4-BE49-F238E27FC236}">
                    <a16:creationId xmlns:a16="http://schemas.microsoft.com/office/drawing/2014/main" id="{BBC07A46-3AE1-3D76-349B-113435EF8A36}"/>
                  </a:ext>
                </a:extLst>
              </p:cNvPr>
              <p:cNvSpPr/>
              <p:nvPr/>
            </p:nvSpPr>
            <p:spPr>
              <a:xfrm>
                <a:off x="1989051" y="4907140"/>
                <a:ext cx="211029" cy="297117"/>
              </a:xfrm>
              <a:custGeom>
                <a:avLst/>
                <a:gdLst>
                  <a:gd name="connsiteX0" fmla="*/ -1838 w 365798"/>
                  <a:gd name="connsiteY0" fmla="*/ 151168 h 515024"/>
                  <a:gd name="connsiteX1" fmla="*/ 285760 w 365798"/>
                  <a:gd name="connsiteY1" fmla="*/ 514740 h 515024"/>
                  <a:gd name="connsiteX2" fmla="*/ 358717 w 365798"/>
                  <a:gd name="connsiteY2" fmla="*/ 240347 h 515024"/>
                  <a:gd name="connsiteX3" fmla="*/ 237244 w 365798"/>
                  <a:gd name="connsiteY3" fmla="*/ -284 h 515024"/>
                  <a:gd name="connsiteX4" fmla="*/ -1838 w 365798"/>
                  <a:gd name="connsiteY4" fmla="*/ 151168 h 515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98" h="515024">
                    <a:moveTo>
                      <a:pt x="-1838" y="151168"/>
                    </a:moveTo>
                    <a:cubicBezTo>
                      <a:pt x="-1838" y="151168"/>
                      <a:pt x="265988" y="293286"/>
                      <a:pt x="285760" y="514740"/>
                    </a:cubicBezTo>
                    <a:cubicBezTo>
                      <a:pt x="285760" y="514740"/>
                      <a:pt x="387900" y="352569"/>
                      <a:pt x="358717" y="240347"/>
                    </a:cubicBezTo>
                    <a:cubicBezTo>
                      <a:pt x="329534" y="128126"/>
                      <a:pt x="237244" y="-284"/>
                      <a:pt x="237244" y="-284"/>
                    </a:cubicBezTo>
                    <a:cubicBezTo>
                      <a:pt x="237244" y="-284"/>
                      <a:pt x="246071" y="134980"/>
                      <a:pt x="-1838" y="151168"/>
                    </a:cubicBezTo>
                    <a:close/>
                  </a:path>
                </a:pathLst>
              </a:custGeom>
              <a:solidFill>
                <a:schemeClr val="accent1">
                  <a:lumMod val="75000"/>
                </a:schemeClr>
              </a:solidFill>
              <a:ln w="729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Tahoma"/>
                  <a:ea typeface="+mn-ea"/>
                  <a:cs typeface="+mn-cs"/>
                </a:endParaRPr>
              </a:p>
            </p:txBody>
          </p:sp>
        </p:grpSp>
      </p:grpSp>
      <p:sp>
        <p:nvSpPr>
          <p:cNvPr id="29" name="Triangle 45">
            <a:extLst>
              <a:ext uri="{FF2B5EF4-FFF2-40B4-BE49-F238E27FC236}">
                <a16:creationId xmlns:a16="http://schemas.microsoft.com/office/drawing/2014/main" id="{9B30BF1C-F6C5-56AB-6C45-B0AB6C6C1AA4}"/>
              </a:ext>
            </a:extLst>
          </p:cNvPr>
          <p:cNvSpPr/>
          <p:nvPr/>
        </p:nvSpPr>
        <p:spPr>
          <a:xfrm rot="16444182">
            <a:off x="4741946" y="-1823778"/>
            <a:ext cx="4956009" cy="9554068"/>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Tahoma"/>
              <a:ea typeface="+mn-ea"/>
              <a:cs typeface="+mn-cs"/>
            </a:endParaRPr>
          </a:p>
        </p:txBody>
      </p:sp>
      <p:graphicFrame>
        <p:nvGraphicFramePr>
          <p:cNvPr id="30" name="Diagram 29">
            <a:extLst>
              <a:ext uri="{FF2B5EF4-FFF2-40B4-BE49-F238E27FC236}">
                <a16:creationId xmlns:a16="http://schemas.microsoft.com/office/drawing/2014/main" id="{E01C2544-EE7D-5865-0DFD-F264DCCAD357}"/>
              </a:ext>
            </a:extLst>
          </p:cNvPr>
          <p:cNvGraphicFramePr/>
          <p:nvPr/>
        </p:nvGraphicFramePr>
        <p:xfrm>
          <a:off x="5308617" y="893882"/>
          <a:ext cx="6548992" cy="48148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396671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1D4D7-A790-496C-9DE6-8F8863938311}"/>
              </a:ext>
            </a:extLst>
          </p:cNvPr>
          <p:cNvSpPr>
            <a:spLocks noGrp="1"/>
          </p:cNvSpPr>
          <p:nvPr>
            <p:ph type="title"/>
          </p:nvPr>
        </p:nvSpPr>
        <p:spPr/>
        <p:txBody>
          <a:bodyPr/>
          <a:lstStyle/>
          <a:p>
            <a:r>
              <a:rPr lang="mn-MN" dirty="0"/>
              <a:t>АСУУЛТ</a:t>
            </a:r>
            <a:r>
              <a:rPr lang="en-GB" dirty="0"/>
              <a:t>?</a:t>
            </a:r>
          </a:p>
        </p:txBody>
      </p:sp>
      <p:sp>
        <p:nvSpPr>
          <p:cNvPr id="4" name="Slide Number Placeholder 3">
            <a:extLst>
              <a:ext uri="{FF2B5EF4-FFF2-40B4-BE49-F238E27FC236}">
                <a16:creationId xmlns:a16="http://schemas.microsoft.com/office/drawing/2014/main" id="{53C86A2B-2CC3-4AE1-A384-932E65DC5E78}"/>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22BD14A0-459B-CA46-A763-3163F186A6C2}" type="slidenum">
              <a:rPr kumimoji="0" lang="en-US" sz="1000" b="0" i="0" u="none" strike="noStrike" kern="1200" cap="none" spc="0" normalizeH="0" baseline="0" noProof="0" smtClean="0">
                <a:ln>
                  <a:noFill/>
                </a:ln>
                <a:solidFill>
                  <a:srgbClr val="000000">
                    <a:lumMod val="50000"/>
                    <a:lumOff val="50000"/>
                  </a:srgbClr>
                </a:solidFill>
                <a:effectLst/>
                <a:uLnTx/>
                <a:uFillTx/>
                <a:latin typeface="Tahoma"/>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46</a:t>
            </a:fld>
            <a:endParaRPr kumimoji="0" lang="en-US" sz="1000" b="0" i="0" u="none" strike="noStrike" kern="1200" cap="none" spc="0" normalizeH="0" baseline="0" noProof="0">
              <a:ln>
                <a:noFill/>
              </a:ln>
              <a:solidFill>
                <a:srgbClr val="000000">
                  <a:lumMod val="50000"/>
                  <a:lumOff val="50000"/>
                </a:srgbClr>
              </a:solidFill>
              <a:effectLst/>
              <a:uLnTx/>
              <a:uFillTx/>
              <a:latin typeface="Tahoma"/>
              <a:ea typeface="+mn-ea"/>
              <a:cs typeface="+mn-cs"/>
            </a:endParaRPr>
          </a:p>
        </p:txBody>
      </p:sp>
      <p:sp>
        <p:nvSpPr>
          <p:cNvPr id="71" name="Crowdsourcing" descr="{&quot;Key&quot;:&quot;POWER_USER_SHAPE_ICON&quot;,&quot;Value&quot;:&quot;POWER_USER_SHAPE_ICON_STYLE_1&quot;}">
            <a:extLst>
              <a:ext uri="{FF2B5EF4-FFF2-40B4-BE49-F238E27FC236}">
                <a16:creationId xmlns:a16="http://schemas.microsoft.com/office/drawing/2014/main" id="{D4C70A0B-FCC2-4A60-BF0A-10D4780730D6}"/>
              </a:ext>
            </a:extLst>
          </p:cNvPr>
          <p:cNvSpPr>
            <a:spLocks noChangeAspect="1" noEditPoints="1"/>
          </p:cNvSpPr>
          <p:nvPr>
            <p:custDataLst>
              <p:tags r:id="rId1"/>
            </p:custDataLst>
          </p:nvPr>
        </p:nvSpPr>
        <p:spPr bwMode="auto">
          <a:xfrm>
            <a:off x="4209168" y="1538150"/>
            <a:ext cx="3773663" cy="3781700"/>
          </a:xfrm>
          <a:custGeom>
            <a:avLst/>
            <a:gdLst>
              <a:gd name="T0" fmla="*/ 1078 w 1250"/>
              <a:gd name="T1" fmla="*/ 608 h 1250"/>
              <a:gd name="T2" fmla="*/ 882 w 1250"/>
              <a:gd name="T3" fmla="*/ 392 h 1250"/>
              <a:gd name="T4" fmla="*/ 1007 w 1250"/>
              <a:gd name="T5" fmla="*/ 330 h 1250"/>
              <a:gd name="T6" fmla="*/ 1007 w 1250"/>
              <a:gd name="T7" fmla="*/ 156 h 1250"/>
              <a:gd name="T8" fmla="*/ 935 w 1250"/>
              <a:gd name="T9" fmla="*/ 291 h 1250"/>
              <a:gd name="T10" fmla="*/ 642 w 1250"/>
              <a:gd name="T11" fmla="*/ 279 h 1250"/>
              <a:gd name="T12" fmla="*/ 712 w 1250"/>
              <a:gd name="T13" fmla="*/ 87 h 1250"/>
              <a:gd name="T14" fmla="*/ 538 w 1250"/>
              <a:gd name="T15" fmla="*/ 87 h 1250"/>
              <a:gd name="T16" fmla="*/ 608 w 1250"/>
              <a:gd name="T17" fmla="*/ 279 h 1250"/>
              <a:gd name="T18" fmla="*/ 315 w 1250"/>
              <a:gd name="T19" fmla="*/ 291 h 1250"/>
              <a:gd name="T20" fmla="*/ 243 w 1250"/>
              <a:gd name="T21" fmla="*/ 156 h 1250"/>
              <a:gd name="T22" fmla="*/ 243 w 1250"/>
              <a:gd name="T23" fmla="*/ 330 h 1250"/>
              <a:gd name="T24" fmla="*/ 368 w 1250"/>
              <a:gd name="T25" fmla="*/ 392 h 1250"/>
              <a:gd name="T26" fmla="*/ 172 w 1250"/>
              <a:gd name="T27" fmla="*/ 608 h 1250"/>
              <a:gd name="T28" fmla="*/ 0 w 1250"/>
              <a:gd name="T29" fmla="*/ 625 h 1250"/>
              <a:gd name="T30" fmla="*/ 172 w 1250"/>
              <a:gd name="T31" fmla="*/ 642 h 1250"/>
              <a:gd name="T32" fmla="*/ 368 w 1250"/>
              <a:gd name="T33" fmla="*/ 858 h 1250"/>
              <a:gd name="T34" fmla="*/ 243 w 1250"/>
              <a:gd name="T35" fmla="*/ 920 h 1250"/>
              <a:gd name="T36" fmla="*/ 243 w 1250"/>
              <a:gd name="T37" fmla="*/ 1094 h 1250"/>
              <a:gd name="T38" fmla="*/ 315 w 1250"/>
              <a:gd name="T39" fmla="*/ 959 h 1250"/>
              <a:gd name="T40" fmla="*/ 608 w 1250"/>
              <a:gd name="T41" fmla="*/ 971 h 1250"/>
              <a:gd name="T42" fmla="*/ 538 w 1250"/>
              <a:gd name="T43" fmla="*/ 1163 h 1250"/>
              <a:gd name="T44" fmla="*/ 712 w 1250"/>
              <a:gd name="T45" fmla="*/ 1163 h 1250"/>
              <a:gd name="T46" fmla="*/ 642 w 1250"/>
              <a:gd name="T47" fmla="*/ 971 h 1250"/>
              <a:gd name="T48" fmla="*/ 935 w 1250"/>
              <a:gd name="T49" fmla="*/ 959 h 1250"/>
              <a:gd name="T50" fmla="*/ 1007 w 1250"/>
              <a:gd name="T51" fmla="*/ 1094 h 1250"/>
              <a:gd name="T52" fmla="*/ 1007 w 1250"/>
              <a:gd name="T53" fmla="*/ 920 h 1250"/>
              <a:gd name="T54" fmla="*/ 882 w 1250"/>
              <a:gd name="T55" fmla="*/ 858 h 1250"/>
              <a:gd name="T56" fmla="*/ 1078 w 1250"/>
              <a:gd name="T57" fmla="*/ 642 h 1250"/>
              <a:gd name="T58" fmla="*/ 1250 w 1250"/>
              <a:gd name="T59" fmla="*/ 625 h 1250"/>
              <a:gd name="T60" fmla="*/ 1007 w 1250"/>
              <a:gd name="T61" fmla="*/ 191 h 1250"/>
              <a:gd name="T62" fmla="*/ 1007 w 1250"/>
              <a:gd name="T63" fmla="*/ 295 h 1250"/>
              <a:gd name="T64" fmla="*/ 1007 w 1250"/>
              <a:gd name="T65" fmla="*/ 191 h 1250"/>
              <a:gd name="T66" fmla="*/ 191 w 1250"/>
              <a:gd name="T67" fmla="*/ 243 h 1250"/>
              <a:gd name="T68" fmla="*/ 295 w 1250"/>
              <a:gd name="T69" fmla="*/ 243 h 1250"/>
              <a:gd name="T70" fmla="*/ 87 w 1250"/>
              <a:gd name="T71" fmla="*/ 677 h 1250"/>
              <a:gd name="T72" fmla="*/ 87 w 1250"/>
              <a:gd name="T73" fmla="*/ 573 h 1250"/>
              <a:gd name="T74" fmla="*/ 87 w 1250"/>
              <a:gd name="T75" fmla="*/ 677 h 1250"/>
              <a:gd name="T76" fmla="*/ 191 w 1250"/>
              <a:gd name="T77" fmla="*/ 1007 h 1250"/>
              <a:gd name="T78" fmla="*/ 295 w 1250"/>
              <a:gd name="T79" fmla="*/ 1007 h 1250"/>
              <a:gd name="T80" fmla="*/ 573 w 1250"/>
              <a:gd name="T81" fmla="*/ 87 h 1250"/>
              <a:gd name="T82" fmla="*/ 677 w 1250"/>
              <a:gd name="T83" fmla="*/ 87 h 1250"/>
              <a:gd name="T84" fmla="*/ 573 w 1250"/>
              <a:gd name="T85" fmla="*/ 87 h 1250"/>
              <a:gd name="T86" fmla="*/ 625 w 1250"/>
              <a:gd name="T87" fmla="*/ 1215 h 1250"/>
              <a:gd name="T88" fmla="*/ 625 w 1250"/>
              <a:gd name="T89" fmla="*/ 1111 h 1250"/>
              <a:gd name="T90" fmla="*/ 660 w 1250"/>
              <a:gd name="T91" fmla="*/ 868 h 1250"/>
              <a:gd name="T92" fmla="*/ 590 w 1250"/>
              <a:gd name="T93" fmla="*/ 799 h 1250"/>
              <a:gd name="T94" fmla="*/ 660 w 1250"/>
              <a:gd name="T95" fmla="*/ 868 h 1250"/>
              <a:gd name="T96" fmla="*/ 660 w 1250"/>
              <a:gd name="T97" fmla="*/ 747 h 1250"/>
              <a:gd name="T98" fmla="*/ 668 w 1250"/>
              <a:gd name="T99" fmla="*/ 606 h 1250"/>
              <a:gd name="T100" fmla="*/ 625 w 1250"/>
              <a:gd name="T101" fmla="*/ 451 h 1250"/>
              <a:gd name="T102" fmla="*/ 469 w 1250"/>
              <a:gd name="T103" fmla="*/ 538 h 1250"/>
              <a:gd name="T104" fmla="*/ 781 w 1250"/>
              <a:gd name="T105" fmla="*/ 538 h 1250"/>
              <a:gd name="T106" fmla="*/ 1007 w 1250"/>
              <a:gd name="T107" fmla="*/ 955 h 1250"/>
              <a:gd name="T108" fmla="*/ 1007 w 1250"/>
              <a:gd name="T109" fmla="*/ 1059 h 1250"/>
              <a:gd name="T110" fmla="*/ 1007 w 1250"/>
              <a:gd name="T111" fmla="*/ 955 h 1250"/>
              <a:gd name="T112" fmla="*/ 1111 w 1250"/>
              <a:gd name="T113" fmla="*/ 625 h 1250"/>
              <a:gd name="T114" fmla="*/ 1215 w 1250"/>
              <a:gd name="T115" fmla="*/ 625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0" h="1250">
                <a:moveTo>
                  <a:pt x="1163" y="538"/>
                </a:moveTo>
                <a:cubicBezTo>
                  <a:pt x="1121" y="538"/>
                  <a:pt x="1086" y="568"/>
                  <a:pt x="1078" y="608"/>
                </a:cubicBezTo>
                <a:lnTo>
                  <a:pt x="971" y="608"/>
                </a:lnTo>
                <a:cubicBezTo>
                  <a:pt x="967" y="525"/>
                  <a:pt x="934" y="450"/>
                  <a:pt x="882" y="392"/>
                </a:cubicBezTo>
                <a:lnTo>
                  <a:pt x="959" y="315"/>
                </a:lnTo>
                <a:cubicBezTo>
                  <a:pt x="973" y="325"/>
                  <a:pt x="989" y="330"/>
                  <a:pt x="1007" y="330"/>
                </a:cubicBezTo>
                <a:cubicBezTo>
                  <a:pt x="1055" y="330"/>
                  <a:pt x="1094" y="291"/>
                  <a:pt x="1094" y="243"/>
                </a:cubicBezTo>
                <a:cubicBezTo>
                  <a:pt x="1094" y="195"/>
                  <a:pt x="1055" y="156"/>
                  <a:pt x="1007" y="156"/>
                </a:cubicBezTo>
                <a:cubicBezTo>
                  <a:pt x="959" y="156"/>
                  <a:pt x="920" y="195"/>
                  <a:pt x="920" y="243"/>
                </a:cubicBezTo>
                <a:cubicBezTo>
                  <a:pt x="920" y="261"/>
                  <a:pt x="926" y="277"/>
                  <a:pt x="935" y="291"/>
                </a:cubicBezTo>
                <a:lnTo>
                  <a:pt x="858" y="368"/>
                </a:lnTo>
                <a:cubicBezTo>
                  <a:pt x="800" y="316"/>
                  <a:pt x="725" y="283"/>
                  <a:pt x="642" y="279"/>
                </a:cubicBezTo>
                <a:lnTo>
                  <a:pt x="642" y="172"/>
                </a:lnTo>
                <a:cubicBezTo>
                  <a:pt x="682" y="164"/>
                  <a:pt x="712" y="129"/>
                  <a:pt x="712" y="87"/>
                </a:cubicBezTo>
                <a:cubicBezTo>
                  <a:pt x="712" y="39"/>
                  <a:pt x="673" y="0"/>
                  <a:pt x="625" y="0"/>
                </a:cubicBezTo>
                <a:cubicBezTo>
                  <a:pt x="577" y="0"/>
                  <a:pt x="538" y="39"/>
                  <a:pt x="538" y="87"/>
                </a:cubicBezTo>
                <a:cubicBezTo>
                  <a:pt x="538" y="129"/>
                  <a:pt x="568" y="164"/>
                  <a:pt x="608" y="172"/>
                </a:cubicBezTo>
                <a:lnTo>
                  <a:pt x="608" y="279"/>
                </a:lnTo>
                <a:cubicBezTo>
                  <a:pt x="525" y="283"/>
                  <a:pt x="450" y="316"/>
                  <a:pt x="392" y="368"/>
                </a:cubicBezTo>
                <a:lnTo>
                  <a:pt x="315" y="291"/>
                </a:lnTo>
                <a:cubicBezTo>
                  <a:pt x="325" y="277"/>
                  <a:pt x="330" y="261"/>
                  <a:pt x="330" y="243"/>
                </a:cubicBezTo>
                <a:cubicBezTo>
                  <a:pt x="330" y="195"/>
                  <a:pt x="291" y="156"/>
                  <a:pt x="243" y="156"/>
                </a:cubicBezTo>
                <a:cubicBezTo>
                  <a:pt x="195" y="156"/>
                  <a:pt x="156" y="195"/>
                  <a:pt x="156" y="243"/>
                </a:cubicBezTo>
                <a:cubicBezTo>
                  <a:pt x="156" y="291"/>
                  <a:pt x="195" y="330"/>
                  <a:pt x="243" y="330"/>
                </a:cubicBezTo>
                <a:cubicBezTo>
                  <a:pt x="261" y="330"/>
                  <a:pt x="277" y="324"/>
                  <a:pt x="291" y="315"/>
                </a:cubicBezTo>
                <a:lnTo>
                  <a:pt x="368" y="392"/>
                </a:lnTo>
                <a:cubicBezTo>
                  <a:pt x="316" y="450"/>
                  <a:pt x="283" y="525"/>
                  <a:pt x="279" y="608"/>
                </a:cubicBezTo>
                <a:lnTo>
                  <a:pt x="172" y="608"/>
                </a:lnTo>
                <a:cubicBezTo>
                  <a:pt x="164" y="568"/>
                  <a:pt x="129" y="538"/>
                  <a:pt x="87" y="538"/>
                </a:cubicBezTo>
                <a:cubicBezTo>
                  <a:pt x="39" y="538"/>
                  <a:pt x="0" y="577"/>
                  <a:pt x="0" y="625"/>
                </a:cubicBezTo>
                <a:cubicBezTo>
                  <a:pt x="0" y="673"/>
                  <a:pt x="39" y="712"/>
                  <a:pt x="87" y="712"/>
                </a:cubicBezTo>
                <a:cubicBezTo>
                  <a:pt x="129" y="712"/>
                  <a:pt x="164" y="682"/>
                  <a:pt x="172" y="642"/>
                </a:cubicBezTo>
                <a:lnTo>
                  <a:pt x="279" y="642"/>
                </a:lnTo>
                <a:cubicBezTo>
                  <a:pt x="283" y="725"/>
                  <a:pt x="316" y="800"/>
                  <a:pt x="368" y="858"/>
                </a:cubicBezTo>
                <a:lnTo>
                  <a:pt x="291" y="935"/>
                </a:lnTo>
                <a:cubicBezTo>
                  <a:pt x="277" y="925"/>
                  <a:pt x="261" y="920"/>
                  <a:pt x="243" y="920"/>
                </a:cubicBezTo>
                <a:cubicBezTo>
                  <a:pt x="195" y="920"/>
                  <a:pt x="156" y="959"/>
                  <a:pt x="156" y="1007"/>
                </a:cubicBezTo>
                <a:cubicBezTo>
                  <a:pt x="156" y="1055"/>
                  <a:pt x="195" y="1094"/>
                  <a:pt x="243" y="1094"/>
                </a:cubicBezTo>
                <a:cubicBezTo>
                  <a:pt x="291" y="1094"/>
                  <a:pt x="330" y="1055"/>
                  <a:pt x="330" y="1007"/>
                </a:cubicBezTo>
                <a:cubicBezTo>
                  <a:pt x="330" y="989"/>
                  <a:pt x="324" y="973"/>
                  <a:pt x="315" y="959"/>
                </a:cubicBezTo>
                <a:lnTo>
                  <a:pt x="392" y="882"/>
                </a:lnTo>
                <a:cubicBezTo>
                  <a:pt x="450" y="934"/>
                  <a:pt x="525" y="967"/>
                  <a:pt x="608" y="971"/>
                </a:cubicBezTo>
                <a:lnTo>
                  <a:pt x="608" y="1078"/>
                </a:lnTo>
                <a:cubicBezTo>
                  <a:pt x="568" y="1086"/>
                  <a:pt x="538" y="1121"/>
                  <a:pt x="538" y="1163"/>
                </a:cubicBezTo>
                <a:cubicBezTo>
                  <a:pt x="538" y="1211"/>
                  <a:pt x="577" y="1250"/>
                  <a:pt x="625" y="1250"/>
                </a:cubicBezTo>
                <a:cubicBezTo>
                  <a:pt x="673" y="1250"/>
                  <a:pt x="712" y="1211"/>
                  <a:pt x="712" y="1163"/>
                </a:cubicBezTo>
                <a:cubicBezTo>
                  <a:pt x="712" y="1121"/>
                  <a:pt x="682" y="1086"/>
                  <a:pt x="642" y="1078"/>
                </a:cubicBezTo>
                <a:lnTo>
                  <a:pt x="642" y="971"/>
                </a:lnTo>
                <a:cubicBezTo>
                  <a:pt x="725" y="967"/>
                  <a:pt x="800" y="934"/>
                  <a:pt x="858" y="882"/>
                </a:cubicBezTo>
                <a:lnTo>
                  <a:pt x="935" y="959"/>
                </a:lnTo>
                <a:cubicBezTo>
                  <a:pt x="925" y="973"/>
                  <a:pt x="920" y="989"/>
                  <a:pt x="920" y="1007"/>
                </a:cubicBezTo>
                <a:cubicBezTo>
                  <a:pt x="920" y="1055"/>
                  <a:pt x="959" y="1094"/>
                  <a:pt x="1007" y="1094"/>
                </a:cubicBezTo>
                <a:cubicBezTo>
                  <a:pt x="1055" y="1094"/>
                  <a:pt x="1094" y="1055"/>
                  <a:pt x="1094" y="1007"/>
                </a:cubicBezTo>
                <a:cubicBezTo>
                  <a:pt x="1094" y="959"/>
                  <a:pt x="1055" y="920"/>
                  <a:pt x="1007" y="920"/>
                </a:cubicBezTo>
                <a:cubicBezTo>
                  <a:pt x="989" y="920"/>
                  <a:pt x="973" y="926"/>
                  <a:pt x="959" y="935"/>
                </a:cubicBezTo>
                <a:lnTo>
                  <a:pt x="882" y="858"/>
                </a:lnTo>
                <a:cubicBezTo>
                  <a:pt x="934" y="800"/>
                  <a:pt x="967" y="725"/>
                  <a:pt x="971" y="642"/>
                </a:cubicBezTo>
                <a:lnTo>
                  <a:pt x="1078" y="642"/>
                </a:lnTo>
                <a:cubicBezTo>
                  <a:pt x="1086" y="682"/>
                  <a:pt x="1121" y="712"/>
                  <a:pt x="1163" y="712"/>
                </a:cubicBezTo>
                <a:cubicBezTo>
                  <a:pt x="1211" y="712"/>
                  <a:pt x="1250" y="673"/>
                  <a:pt x="1250" y="625"/>
                </a:cubicBezTo>
                <a:cubicBezTo>
                  <a:pt x="1250" y="577"/>
                  <a:pt x="1211" y="538"/>
                  <a:pt x="1163" y="538"/>
                </a:cubicBezTo>
                <a:close/>
                <a:moveTo>
                  <a:pt x="1007" y="191"/>
                </a:moveTo>
                <a:cubicBezTo>
                  <a:pt x="1036" y="191"/>
                  <a:pt x="1059" y="214"/>
                  <a:pt x="1059" y="243"/>
                </a:cubicBezTo>
                <a:cubicBezTo>
                  <a:pt x="1059" y="272"/>
                  <a:pt x="1036" y="295"/>
                  <a:pt x="1007" y="295"/>
                </a:cubicBezTo>
                <a:cubicBezTo>
                  <a:pt x="978" y="295"/>
                  <a:pt x="955" y="272"/>
                  <a:pt x="955" y="243"/>
                </a:cubicBezTo>
                <a:cubicBezTo>
                  <a:pt x="955" y="214"/>
                  <a:pt x="978" y="191"/>
                  <a:pt x="1007" y="191"/>
                </a:cubicBezTo>
                <a:close/>
                <a:moveTo>
                  <a:pt x="243" y="295"/>
                </a:moveTo>
                <a:cubicBezTo>
                  <a:pt x="214" y="295"/>
                  <a:pt x="191" y="272"/>
                  <a:pt x="191" y="243"/>
                </a:cubicBezTo>
                <a:cubicBezTo>
                  <a:pt x="191" y="214"/>
                  <a:pt x="214" y="191"/>
                  <a:pt x="243" y="191"/>
                </a:cubicBezTo>
                <a:cubicBezTo>
                  <a:pt x="272" y="191"/>
                  <a:pt x="295" y="214"/>
                  <a:pt x="295" y="243"/>
                </a:cubicBezTo>
                <a:cubicBezTo>
                  <a:pt x="295" y="272"/>
                  <a:pt x="272" y="295"/>
                  <a:pt x="243" y="295"/>
                </a:cubicBezTo>
                <a:close/>
                <a:moveTo>
                  <a:pt x="87" y="677"/>
                </a:moveTo>
                <a:cubicBezTo>
                  <a:pt x="58" y="677"/>
                  <a:pt x="35" y="654"/>
                  <a:pt x="35" y="625"/>
                </a:cubicBezTo>
                <a:cubicBezTo>
                  <a:pt x="35" y="596"/>
                  <a:pt x="58" y="573"/>
                  <a:pt x="87" y="573"/>
                </a:cubicBezTo>
                <a:cubicBezTo>
                  <a:pt x="116" y="573"/>
                  <a:pt x="139" y="596"/>
                  <a:pt x="139" y="625"/>
                </a:cubicBezTo>
                <a:cubicBezTo>
                  <a:pt x="139" y="654"/>
                  <a:pt x="116" y="677"/>
                  <a:pt x="87" y="677"/>
                </a:cubicBezTo>
                <a:close/>
                <a:moveTo>
                  <a:pt x="243" y="1059"/>
                </a:moveTo>
                <a:cubicBezTo>
                  <a:pt x="214" y="1059"/>
                  <a:pt x="191" y="1036"/>
                  <a:pt x="191" y="1007"/>
                </a:cubicBezTo>
                <a:cubicBezTo>
                  <a:pt x="191" y="978"/>
                  <a:pt x="214" y="955"/>
                  <a:pt x="243" y="955"/>
                </a:cubicBezTo>
                <a:cubicBezTo>
                  <a:pt x="272" y="955"/>
                  <a:pt x="295" y="978"/>
                  <a:pt x="295" y="1007"/>
                </a:cubicBezTo>
                <a:cubicBezTo>
                  <a:pt x="295" y="1036"/>
                  <a:pt x="272" y="1059"/>
                  <a:pt x="243" y="1059"/>
                </a:cubicBezTo>
                <a:close/>
                <a:moveTo>
                  <a:pt x="573" y="87"/>
                </a:moveTo>
                <a:cubicBezTo>
                  <a:pt x="573" y="58"/>
                  <a:pt x="596" y="35"/>
                  <a:pt x="625" y="35"/>
                </a:cubicBezTo>
                <a:cubicBezTo>
                  <a:pt x="654" y="35"/>
                  <a:pt x="677" y="58"/>
                  <a:pt x="677" y="87"/>
                </a:cubicBezTo>
                <a:cubicBezTo>
                  <a:pt x="677" y="116"/>
                  <a:pt x="654" y="139"/>
                  <a:pt x="625" y="139"/>
                </a:cubicBezTo>
                <a:cubicBezTo>
                  <a:pt x="596" y="139"/>
                  <a:pt x="573" y="116"/>
                  <a:pt x="573" y="87"/>
                </a:cubicBezTo>
                <a:close/>
                <a:moveTo>
                  <a:pt x="677" y="1163"/>
                </a:moveTo>
                <a:cubicBezTo>
                  <a:pt x="677" y="1192"/>
                  <a:pt x="654" y="1215"/>
                  <a:pt x="625" y="1215"/>
                </a:cubicBezTo>
                <a:cubicBezTo>
                  <a:pt x="596" y="1215"/>
                  <a:pt x="573" y="1192"/>
                  <a:pt x="573" y="1163"/>
                </a:cubicBezTo>
                <a:cubicBezTo>
                  <a:pt x="573" y="1134"/>
                  <a:pt x="596" y="1111"/>
                  <a:pt x="625" y="1111"/>
                </a:cubicBezTo>
                <a:cubicBezTo>
                  <a:pt x="654" y="1111"/>
                  <a:pt x="677" y="1134"/>
                  <a:pt x="677" y="1163"/>
                </a:cubicBezTo>
                <a:close/>
                <a:moveTo>
                  <a:pt x="660" y="868"/>
                </a:moveTo>
                <a:lnTo>
                  <a:pt x="590" y="868"/>
                </a:lnTo>
                <a:lnTo>
                  <a:pt x="590" y="799"/>
                </a:lnTo>
                <a:lnTo>
                  <a:pt x="660" y="799"/>
                </a:lnTo>
                <a:lnTo>
                  <a:pt x="660" y="868"/>
                </a:lnTo>
                <a:close/>
                <a:moveTo>
                  <a:pt x="711" y="660"/>
                </a:moveTo>
                <a:cubicBezTo>
                  <a:pt x="681" y="684"/>
                  <a:pt x="660" y="700"/>
                  <a:pt x="660" y="747"/>
                </a:cubicBezTo>
                <a:lnTo>
                  <a:pt x="590" y="747"/>
                </a:lnTo>
                <a:cubicBezTo>
                  <a:pt x="590" y="667"/>
                  <a:pt x="635" y="631"/>
                  <a:pt x="668" y="606"/>
                </a:cubicBezTo>
                <a:cubicBezTo>
                  <a:pt x="698" y="583"/>
                  <a:pt x="712" y="570"/>
                  <a:pt x="712" y="538"/>
                </a:cubicBezTo>
                <a:cubicBezTo>
                  <a:pt x="712" y="477"/>
                  <a:pt x="686" y="451"/>
                  <a:pt x="625" y="451"/>
                </a:cubicBezTo>
                <a:cubicBezTo>
                  <a:pt x="564" y="451"/>
                  <a:pt x="538" y="477"/>
                  <a:pt x="538" y="538"/>
                </a:cubicBezTo>
                <a:lnTo>
                  <a:pt x="469" y="538"/>
                </a:lnTo>
                <a:cubicBezTo>
                  <a:pt x="469" y="439"/>
                  <a:pt x="526" y="382"/>
                  <a:pt x="625" y="382"/>
                </a:cubicBezTo>
                <a:cubicBezTo>
                  <a:pt x="724" y="382"/>
                  <a:pt x="781" y="439"/>
                  <a:pt x="781" y="538"/>
                </a:cubicBezTo>
                <a:cubicBezTo>
                  <a:pt x="781" y="605"/>
                  <a:pt x="742" y="636"/>
                  <a:pt x="711" y="660"/>
                </a:cubicBezTo>
                <a:close/>
                <a:moveTo>
                  <a:pt x="1007" y="955"/>
                </a:moveTo>
                <a:cubicBezTo>
                  <a:pt x="1036" y="955"/>
                  <a:pt x="1059" y="978"/>
                  <a:pt x="1059" y="1007"/>
                </a:cubicBezTo>
                <a:cubicBezTo>
                  <a:pt x="1059" y="1036"/>
                  <a:pt x="1036" y="1059"/>
                  <a:pt x="1007" y="1059"/>
                </a:cubicBezTo>
                <a:cubicBezTo>
                  <a:pt x="978" y="1059"/>
                  <a:pt x="955" y="1036"/>
                  <a:pt x="955" y="1007"/>
                </a:cubicBezTo>
                <a:cubicBezTo>
                  <a:pt x="955" y="978"/>
                  <a:pt x="978" y="955"/>
                  <a:pt x="1007" y="955"/>
                </a:cubicBezTo>
                <a:close/>
                <a:moveTo>
                  <a:pt x="1163" y="677"/>
                </a:moveTo>
                <a:cubicBezTo>
                  <a:pt x="1134" y="677"/>
                  <a:pt x="1111" y="654"/>
                  <a:pt x="1111" y="625"/>
                </a:cubicBezTo>
                <a:cubicBezTo>
                  <a:pt x="1111" y="596"/>
                  <a:pt x="1134" y="573"/>
                  <a:pt x="1163" y="573"/>
                </a:cubicBezTo>
                <a:cubicBezTo>
                  <a:pt x="1192" y="573"/>
                  <a:pt x="1215" y="596"/>
                  <a:pt x="1215" y="625"/>
                </a:cubicBezTo>
                <a:cubicBezTo>
                  <a:pt x="1215" y="654"/>
                  <a:pt x="1192" y="677"/>
                  <a:pt x="1163" y="677"/>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26962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11885613" y="6197600"/>
            <a:ext cx="306387" cy="379413"/>
          </a:xfrm>
        </p:spPr>
        <p:txBody>
          <a:bodyPr/>
          <a:lstStyle/>
          <a:p>
            <a:fld id="{C1B07ACB-AE6F-47F7-B02A-AE02D6CD5526}" type="slidenum">
              <a:rPr lang="en-GB" smtClean="0"/>
              <a:pPr/>
              <a:t>47</a:t>
            </a:fld>
            <a:endParaRPr lang="en-GB" dirty="0"/>
          </a:p>
        </p:txBody>
      </p:sp>
      <p:pic>
        <p:nvPicPr>
          <p:cNvPr id="18" name="Picture 17">
            <a:extLst>
              <a:ext uri="{FF2B5EF4-FFF2-40B4-BE49-F238E27FC236}">
                <a16:creationId xmlns:a16="http://schemas.microsoft.com/office/drawing/2014/main" id="{FAD3E041-CDB8-4049-A43D-EC91FF57852F}"/>
              </a:ext>
            </a:extLst>
          </p:cNvPr>
          <p:cNvPicPr/>
          <p:nvPr/>
        </p:nvPicPr>
        <p:blipFill>
          <a:blip r:embed="rId2" cstate="screen">
            <a:extLst>
              <a:ext uri="{28A0092B-C50C-407E-A947-70E740481C1C}">
                <a14:useLocalDpi xmlns:a14="http://schemas.microsoft.com/office/drawing/2010/main"/>
              </a:ext>
            </a:extLst>
          </a:blip>
          <a:srcRect/>
          <a:stretch>
            <a:fillRect/>
          </a:stretch>
        </p:blipFill>
        <p:spPr bwMode="auto">
          <a:xfrm>
            <a:off x="1261056" y="6197284"/>
            <a:ext cx="1547628" cy="472236"/>
          </a:xfrm>
          <a:prstGeom prst="rect">
            <a:avLst/>
          </a:prstGeom>
          <a:noFill/>
        </p:spPr>
      </p:pic>
      <p:pic>
        <p:nvPicPr>
          <p:cNvPr id="6" name="Picture 5">
            <a:extLst>
              <a:ext uri="{FF2B5EF4-FFF2-40B4-BE49-F238E27FC236}">
                <a16:creationId xmlns:a16="http://schemas.microsoft.com/office/drawing/2014/main" id="{E8DB6C07-27CB-4216-BF11-8A88514ECDE1}"/>
              </a:ext>
            </a:extLst>
          </p:cNvPr>
          <p:cNvPicPr>
            <a:picLocks noChangeAspect="1"/>
          </p:cNvPicPr>
          <p:nvPr/>
        </p:nvPicPr>
        <p:blipFill>
          <a:blip r:embed="rId3">
            <a:clrChange>
              <a:clrFrom>
                <a:srgbClr val="FFFFFF"/>
              </a:clrFrom>
              <a:clrTo>
                <a:srgbClr val="FFFFFF">
                  <a:alpha val="0"/>
                </a:srgbClr>
              </a:clrTo>
            </a:clrChange>
          </a:blip>
          <a:srcRect/>
          <a:stretch>
            <a:fillRect/>
          </a:stretch>
        </p:blipFill>
        <p:spPr bwMode="auto">
          <a:xfrm>
            <a:off x="2905534" y="2258052"/>
            <a:ext cx="6029924" cy="1620000"/>
          </a:xfrm>
          <a:prstGeom prst="rect">
            <a:avLst/>
          </a:prstGeom>
          <a:noFill/>
          <a:ln w="9525">
            <a:noFill/>
            <a:miter lim="800000"/>
            <a:headEnd/>
            <a:tailEnd/>
          </a:ln>
        </p:spPr>
      </p:pic>
    </p:spTree>
    <p:extLst>
      <p:ext uri="{BB962C8B-B14F-4D97-AF65-F5344CB8AC3E}">
        <p14:creationId xmlns:p14="http://schemas.microsoft.com/office/powerpoint/2010/main" val="21289718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AD5CB-4A14-4D4B-AE3A-CED3C8F92623}"/>
              </a:ext>
            </a:extLst>
          </p:cNvPr>
          <p:cNvSpPr>
            <a:spLocks noGrp="1"/>
          </p:cNvSpPr>
          <p:nvPr>
            <p:ph type="title"/>
          </p:nvPr>
        </p:nvSpPr>
        <p:spPr>
          <a:xfrm>
            <a:off x="360000" y="556837"/>
            <a:ext cx="7921374" cy="722327"/>
          </a:xfrm>
        </p:spPr>
        <p:txBody>
          <a:bodyPr/>
          <a:lstStyle/>
          <a:p>
            <a:r>
              <a:rPr lang="mn-MN" dirty="0"/>
              <a:t>ТӨСЛИЙН ҮЙЛ АЖИЛЛАГАА</a:t>
            </a:r>
            <a:endParaRPr lang="en-GB" dirty="0"/>
          </a:p>
        </p:txBody>
      </p:sp>
      <p:sp>
        <p:nvSpPr>
          <p:cNvPr id="3" name="Content Placeholder 2">
            <a:extLst>
              <a:ext uri="{FF2B5EF4-FFF2-40B4-BE49-F238E27FC236}">
                <a16:creationId xmlns:a16="http://schemas.microsoft.com/office/drawing/2014/main" id="{FE18DF77-9FE7-403D-8AEE-708AF73D24E8}"/>
              </a:ext>
            </a:extLst>
          </p:cNvPr>
          <p:cNvSpPr>
            <a:spLocks noGrp="1"/>
          </p:cNvSpPr>
          <p:nvPr>
            <p:ph idx="1"/>
          </p:nvPr>
        </p:nvSpPr>
        <p:spPr>
          <a:xfrm>
            <a:off x="360000" y="2692384"/>
            <a:ext cx="8467291" cy="2608174"/>
          </a:xfrm>
        </p:spPr>
        <p:txBody>
          <a:bodyPr/>
          <a:lstStyle/>
          <a:p>
            <a:r>
              <a:rPr lang="mn-MN" dirty="0"/>
              <a:t>Гурван түвшний туршилтын төсөл</a:t>
            </a:r>
            <a:r>
              <a:rPr lang="en-GB" dirty="0"/>
              <a:t>:</a:t>
            </a:r>
          </a:p>
          <a:p>
            <a:pPr lvl="1"/>
            <a:r>
              <a:rPr lang="ru-RU" dirty="0"/>
              <a:t>Жижиг, дунд, том түвшинд компост бордоо </a:t>
            </a:r>
            <a:r>
              <a:rPr lang="mn-MN" dirty="0"/>
              <a:t>боловсруулах</a:t>
            </a:r>
            <a:endParaRPr lang="ru-RU" dirty="0"/>
          </a:p>
          <a:p>
            <a:pPr marL="457200" lvl="1" indent="0">
              <a:buNone/>
            </a:pPr>
            <a:r>
              <a:rPr lang="en-GB" dirty="0"/>
              <a:t> </a:t>
            </a:r>
          </a:p>
          <a:p>
            <a:r>
              <a:rPr lang="mn-MN" dirty="0"/>
              <a:t>Улаанбаатар хотын хүнсний хаягдлын Судалгаа</a:t>
            </a:r>
            <a:endParaRPr lang="en-GB" dirty="0"/>
          </a:p>
        </p:txBody>
      </p:sp>
      <p:sp>
        <p:nvSpPr>
          <p:cNvPr id="4" name="Slide Number Placeholder 3">
            <a:extLst>
              <a:ext uri="{FF2B5EF4-FFF2-40B4-BE49-F238E27FC236}">
                <a16:creationId xmlns:a16="http://schemas.microsoft.com/office/drawing/2014/main" id="{B5BEA859-27A3-4581-BF2C-7DC72E69CE20}"/>
              </a:ext>
            </a:extLst>
          </p:cNvPr>
          <p:cNvSpPr>
            <a:spLocks noGrp="1"/>
          </p:cNvSpPr>
          <p:nvPr>
            <p:ph type="sldNum" sz="quarter" idx="12"/>
          </p:nvPr>
        </p:nvSpPr>
        <p:spPr/>
        <p:txBody>
          <a:bodyPr/>
          <a:lstStyle/>
          <a:p>
            <a:fld id="{22BD14A0-459B-CA46-A763-3163F186A6C2}" type="slidenum">
              <a:rPr lang="en-US" smtClean="0"/>
              <a:t>5</a:t>
            </a:fld>
            <a:endParaRPr lang="en-US"/>
          </a:p>
        </p:txBody>
      </p:sp>
      <p:grpSp>
        <p:nvGrpSpPr>
          <p:cNvPr id="24" name="Crowdsourcing2" descr="{&quot;Key&quot;:&quot;POWER_USER_SHAPE_ICON&quot;,&quot;Value&quot;:&quot;POWER_USER_SHAPE_ICON_STYLE_1&quot;}">
            <a:extLst>
              <a:ext uri="{FF2B5EF4-FFF2-40B4-BE49-F238E27FC236}">
                <a16:creationId xmlns:a16="http://schemas.microsoft.com/office/drawing/2014/main" id="{500D45BC-A389-489A-BAC8-30C1FBFAB6FB}"/>
              </a:ext>
            </a:extLst>
          </p:cNvPr>
          <p:cNvGrpSpPr>
            <a:grpSpLocks noChangeAspect="1"/>
          </p:cNvGrpSpPr>
          <p:nvPr>
            <p:custDataLst>
              <p:tags r:id="rId1"/>
            </p:custDataLst>
          </p:nvPr>
        </p:nvGrpSpPr>
        <p:grpSpPr bwMode="auto">
          <a:xfrm>
            <a:off x="9339873" y="2692384"/>
            <a:ext cx="2078511" cy="2170684"/>
            <a:chOff x="8" y="8"/>
            <a:chExt cx="451" cy="471"/>
          </a:xfrm>
          <a:solidFill>
            <a:schemeClr val="accent2"/>
          </a:solidFill>
        </p:grpSpPr>
        <p:sp>
          <p:nvSpPr>
            <p:cNvPr id="25" name="Crowdsourcing2">
              <a:extLst>
                <a:ext uri="{FF2B5EF4-FFF2-40B4-BE49-F238E27FC236}">
                  <a16:creationId xmlns:a16="http://schemas.microsoft.com/office/drawing/2014/main" id="{F11D4024-3354-403D-84BD-B96D49DD6B99}"/>
                </a:ext>
              </a:extLst>
            </p:cNvPr>
            <p:cNvSpPr>
              <a:spLocks noChangeArrowheads="1"/>
            </p:cNvSpPr>
            <p:nvPr>
              <p:custDataLst>
                <p:tags r:id="rId2"/>
              </p:custDataLst>
            </p:nvPr>
          </p:nvSpPr>
          <p:spPr bwMode="auto">
            <a:xfrm>
              <a:off x="28" y="341"/>
              <a:ext cx="58"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Crowdsourcing2">
              <a:extLst>
                <a:ext uri="{FF2B5EF4-FFF2-40B4-BE49-F238E27FC236}">
                  <a16:creationId xmlns:a16="http://schemas.microsoft.com/office/drawing/2014/main" id="{666C08B3-74D6-4240-8354-4E44727BB809}"/>
                </a:ext>
              </a:extLst>
            </p:cNvPr>
            <p:cNvSpPr>
              <a:spLocks/>
            </p:cNvSpPr>
            <p:nvPr>
              <p:custDataLst>
                <p:tags r:id="rId3"/>
              </p:custDataLst>
            </p:nvPr>
          </p:nvSpPr>
          <p:spPr bwMode="auto">
            <a:xfrm>
              <a:off x="8" y="410"/>
              <a:ext cx="98" cy="69"/>
            </a:xfrm>
            <a:custGeom>
              <a:avLst/>
              <a:gdLst>
                <a:gd name="T0" fmla="*/ 130 w 260"/>
                <a:gd name="T1" fmla="*/ 0 h 182"/>
                <a:gd name="T2" fmla="*/ 0 w 260"/>
                <a:gd name="T3" fmla="*/ 130 h 182"/>
                <a:gd name="T4" fmla="*/ 0 w 260"/>
                <a:gd name="T5" fmla="*/ 182 h 182"/>
                <a:gd name="T6" fmla="*/ 260 w 260"/>
                <a:gd name="T7" fmla="*/ 182 h 182"/>
                <a:gd name="T8" fmla="*/ 260 w 260"/>
                <a:gd name="T9" fmla="*/ 130 h 182"/>
                <a:gd name="T10" fmla="*/ 130 w 260"/>
                <a:gd name="T11" fmla="*/ 0 h 182"/>
              </a:gdLst>
              <a:ahLst/>
              <a:cxnLst>
                <a:cxn ang="0">
                  <a:pos x="T0" y="T1"/>
                </a:cxn>
                <a:cxn ang="0">
                  <a:pos x="T2" y="T3"/>
                </a:cxn>
                <a:cxn ang="0">
                  <a:pos x="T4" y="T5"/>
                </a:cxn>
                <a:cxn ang="0">
                  <a:pos x="T6" y="T7"/>
                </a:cxn>
                <a:cxn ang="0">
                  <a:pos x="T8" y="T9"/>
                </a:cxn>
                <a:cxn ang="0">
                  <a:pos x="T10" y="T11"/>
                </a:cxn>
              </a:cxnLst>
              <a:rect l="0" t="0" r="r" b="b"/>
              <a:pathLst>
                <a:path w="260" h="182">
                  <a:moveTo>
                    <a:pt x="130" y="0"/>
                  </a:moveTo>
                  <a:cubicBezTo>
                    <a:pt x="58" y="0"/>
                    <a:pt x="0" y="58"/>
                    <a:pt x="0" y="130"/>
                  </a:cubicBezTo>
                  <a:lnTo>
                    <a:pt x="0" y="182"/>
                  </a:lnTo>
                  <a:lnTo>
                    <a:pt x="260" y="182"/>
                  </a:lnTo>
                  <a:lnTo>
                    <a:pt x="260" y="130"/>
                  </a:lnTo>
                  <a:cubicBezTo>
                    <a:pt x="260" y="58"/>
                    <a:pt x="202" y="0"/>
                    <a:pt x="13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Crowdsourcing2">
              <a:extLst>
                <a:ext uri="{FF2B5EF4-FFF2-40B4-BE49-F238E27FC236}">
                  <a16:creationId xmlns:a16="http://schemas.microsoft.com/office/drawing/2014/main" id="{516C0C57-2A55-4689-963F-18D3E7FC52FE}"/>
                </a:ext>
              </a:extLst>
            </p:cNvPr>
            <p:cNvSpPr>
              <a:spLocks noChangeArrowheads="1"/>
            </p:cNvSpPr>
            <p:nvPr>
              <p:custDataLst>
                <p:tags r:id="rId4"/>
              </p:custDataLst>
            </p:nvPr>
          </p:nvSpPr>
          <p:spPr bwMode="auto">
            <a:xfrm>
              <a:off x="145" y="341"/>
              <a:ext cx="59"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Crowdsourcing2">
              <a:extLst>
                <a:ext uri="{FF2B5EF4-FFF2-40B4-BE49-F238E27FC236}">
                  <a16:creationId xmlns:a16="http://schemas.microsoft.com/office/drawing/2014/main" id="{E92B1BC3-C386-4880-A50D-355DC289EA75}"/>
                </a:ext>
              </a:extLst>
            </p:cNvPr>
            <p:cNvSpPr>
              <a:spLocks/>
            </p:cNvSpPr>
            <p:nvPr>
              <p:custDataLst>
                <p:tags r:id="rId5"/>
              </p:custDataLst>
            </p:nvPr>
          </p:nvSpPr>
          <p:spPr bwMode="auto">
            <a:xfrm>
              <a:off x="126" y="410"/>
              <a:ext cx="98" cy="69"/>
            </a:xfrm>
            <a:custGeom>
              <a:avLst/>
              <a:gdLst>
                <a:gd name="T0" fmla="*/ 130 w 260"/>
                <a:gd name="T1" fmla="*/ 0 h 182"/>
                <a:gd name="T2" fmla="*/ 0 w 260"/>
                <a:gd name="T3" fmla="*/ 130 h 182"/>
                <a:gd name="T4" fmla="*/ 0 w 260"/>
                <a:gd name="T5" fmla="*/ 182 h 182"/>
                <a:gd name="T6" fmla="*/ 260 w 260"/>
                <a:gd name="T7" fmla="*/ 182 h 182"/>
                <a:gd name="T8" fmla="*/ 260 w 260"/>
                <a:gd name="T9" fmla="*/ 130 h 182"/>
                <a:gd name="T10" fmla="*/ 130 w 260"/>
                <a:gd name="T11" fmla="*/ 0 h 182"/>
              </a:gdLst>
              <a:ahLst/>
              <a:cxnLst>
                <a:cxn ang="0">
                  <a:pos x="T0" y="T1"/>
                </a:cxn>
                <a:cxn ang="0">
                  <a:pos x="T2" y="T3"/>
                </a:cxn>
                <a:cxn ang="0">
                  <a:pos x="T4" y="T5"/>
                </a:cxn>
                <a:cxn ang="0">
                  <a:pos x="T6" y="T7"/>
                </a:cxn>
                <a:cxn ang="0">
                  <a:pos x="T8" y="T9"/>
                </a:cxn>
                <a:cxn ang="0">
                  <a:pos x="T10" y="T11"/>
                </a:cxn>
              </a:cxnLst>
              <a:rect l="0" t="0" r="r" b="b"/>
              <a:pathLst>
                <a:path w="260" h="182">
                  <a:moveTo>
                    <a:pt x="130" y="0"/>
                  </a:moveTo>
                  <a:cubicBezTo>
                    <a:pt x="58" y="0"/>
                    <a:pt x="0" y="58"/>
                    <a:pt x="0" y="130"/>
                  </a:cubicBezTo>
                  <a:lnTo>
                    <a:pt x="0" y="182"/>
                  </a:lnTo>
                  <a:lnTo>
                    <a:pt x="260" y="182"/>
                  </a:lnTo>
                  <a:lnTo>
                    <a:pt x="260" y="130"/>
                  </a:lnTo>
                  <a:cubicBezTo>
                    <a:pt x="260" y="58"/>
                    <a:pt x="202" y="0"/>
                    <a:pt x="13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Crowdsourcing2">
              <a:extLst>
                <a:ext uri="{FF2B5EF4-FFF2-40B4-BE49-F238E27FC236}">
                  <a16:creationId xmlns:a16="http://schemas.microsoft.com/office/drawing/2014/main" id="{8F62F40C-E066-465D-9303-C91586047D79}"/>
                </a:ext>
              </a:extLst>
            </p:cNvPr>
            <p:cNvSpPr>
              <a:spLocks noChangeArrowheads="1"/>
            </p:cNvSpPr>
            <p:nvPr>
              <p:custDataLst>
                <p:tags r:id="rId6"/>
              </p:custDataLst>
            </p:nvPr>
          </p:nvSpPr>
          <p:spPr bwMode="auto">
            <a:xfrm>
              <a:off x="263" y="341"/>
              <a:ext cx="58"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Crowdsourcing2">
              <a:extLst>
                <a:ext uri="{FF2B5EF4-FFF2-40B4-BE49-F238E27FC236}">
                  <a16:creationId xmlns:a16="http://schemas.microsoft.com/office/drawing/2014/main" id="{8127DD29-6C3B-40F3-B01B-662AEB681A3A}"/>
                </a:ext>
              </a:extLst>
            </p:cNvPr>
            <p:cNvSpPr>
              <a:spLocks/>
            </p:cNvSpPr>
            <p:nvPr>
              <p:custDataLst>
                <p:tags r:id="rId7"/>
              </p:custDataLst>
            </p:nvPr>
          </p:nvSpPr>
          <p:spPr bwMode="auto">
            <a:xfrm>
              <a:off x="243" y="410"/>
              <a:ext cx="98" cy="69"/>
            </a:xfrm>
            <a:custGeom>
              <a:avLst/>
              <a:gdLst>
                <a:gd name="T0" fmla="*/ 130 w 260"/>
                <a:gd name="T1" fmla="*/ 0 h 182"/>
                <a:gd name="T2" fmla="*/ 0 w 260"/>
                <a:gd name="T3" fmla="*/ 130 h 182"/>
                <a:gd name="T4" fmla="*/ 0 w 260"/>
                <a:gd name="T5" fmla="*/ 182 h 182"/>
                <a:gd name="T6" fmla="*/ 260 w 260"/>
                <a:gd name="T7" fmla="*/ 182 h 182"/>
                <a:gd name="T8" fmla="*/ 260 w 260"/>
                <a:gd name="T9" fmla="*/ 130 h 182"/>
                <a:gd name="T10" fmla="*/ 130 w 260"/>
                <a:gd name="T11" fmla="*/ 0 h 182"/>
              </a:gdLst>
              <a:ahLst/>
              <a:cxnLst>
                <a:cxn ang="0">
                  <a:pos x="T0" y="T1"/>
                </a:cxn>
                <a:cxn ang="0">
                  <a:pos x="T2" y="T3"/>
                </a:cxn>
                <a:cxn ang="0">
                  <a:pos x="T4" y="T5"/>
                </a:cxn>
                <a:cxn ang="0">
                  <a:pos x="T6" y="T7"/>
                </a:cxn>
                <a:cxn ang="0">
                  <a:pos x="T8" y="T9"/>
                </a:cxn>
                <a:cxn ang="0">
                  <a:pos x="T10" y="T11"/>
                </a:cxn>
              </a:cxnLst>
              <a:rect l="0" t="0" r="r" b="b"/>
              <a:pathLst>
                <a:path w="260" h="182">
                  <a:moveTo>
                    <a:pt x="130" y="0"/>
                  </a:moveTo>
                  <a:cubicBezTo>
                    <a:pt x="58" y="0"/>
                    <a:pt x="0" y="58"/>
                    <a:pt x="0" y="130"/>
                  </a:cubicBezTo>
                  <a:lnTo>
                    <a:pt x="0" y="182"/>
                  </a:lnTo>
                  <a:lnTo>
                    <a:pt x="260" y="182"/>
                  </a:lnTo>
                  <a:lnTo>
                    <a:pt x="260" y="130"/>
                  </a:lnTo>
                  <a:cubicBezTo>
                    <a:pt x="260" y="58"/>
                    <a:pt x="202" y="0"/>
                    <a:pt x="13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Crowdsourcing2">
              <a:extLst>
                <a:ext uri="{FF2B5EF4-FFF2-40B4-BE49-F238E27FC236}">
                  <a16:creationId xmlns:a16="http://schemas.microsoft.com/office/drawing/2014/main" id="{51DE96B3-397A-4A64-8198-5BF7A449EEB4}"/>
                </a:ext>
              </a:extLst>
            </p:cNvPr>
            <p:cNvSpPr>
              <a:spLocks noChangeArrowheads="1"/>
            </p:cNvSpPr>
            <p:nvPr>
              <p:custDataLst>
                <p:tags r:id="rId8"/>
              </p:custDataLst>
            </p:nvPr>
          </p:nvSpPr>
          <p:spPr bwMode="auto">
            <a:xfrm>
              <a:off x="380" y="341"/>
              <a:ext cx="59"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Crowdsourcing2">
              <a:extLst>
                <a:ext uri="{FF2B5EF4-FFF2-40B4-BE49-F238E27FC236}">
                  <a16:creationId xmlns:a16="http://schemas.microsoft.com/office/drawing/2014/main" id="{D89763A0-6B14-460F-9982-FAFC05B9037A}"/>
                </a:ext>
              </a:extLst>
            </p:cNvPr>
            <p:cNvSpPr>
              <a:spLocks/>
            </p:cNvSpPr>
            <p:nvPr>
              <p:custDataLst>
                <p:tags r:id="rId9"/>
              </p:custDataLst>
            </p:nvPr>
          </p:nvSpPr>
          <p:spPr bwMode="auto">
            <a:xfrm>
              <a:off x="361" y="410"/>
              <a:ext cx="98" cy="69"/>
            </a:xfrm>
            <a:custGeom>
              <a:avLst/>
              <a:gdLst>
                <a:gd name="T0" fmla="*/ 130 w 260"/>
                <a:gd name="T1" fmla="*/ 0 h 182"/>
                <a:gd name="T2" fmla="*/ 0 w 260"/>
                <a:gd name="T3" fmla="*/ 130 h 182"/>
                <a:gd name="T4" fmla="*/ 0 w 260"/>
                <a:gd name="T5" fmla="*/ 182 h 182"/>
                <a:gd name="T6" fmla="*/ 260 w 260"/>
                <a:gd name="T7" fmla="*/ 182 h 182"/>
                <a:gd name="T8" fmla="*/ 260 w 260"/>
                <a:gd name="T9" fmla="*/ 130 h 182"/>
                <a:gd name="T10" fmla="*/ 130 w 260"/>
                <a:gd name="T11" fmla="*/ 0 h 182"/>
              </a:gdLst>
              <a:ahLst/>
              <a:cxnLst>
                <a:cxn ang="0">
                  <a:pos x="T0" y="T1"/>
                </a:cxn>
                <a:cxn ang="0">
                  <a:pos x="T2" y="T3"/>
                </a:cxn>
                <a:cxn ang="0">
                  <a:pos x="T4" y="T5"/>
                </a:cxn>
                <a:cxn ang="0">
                  <a:pos x="T6" y="T7"/>
                </a:cxn>
                <a:cxn ang="0">
                  <a:pos x="T8" y="T9"/>
                </a:cxn>
                <a:cxn ang="0">
                  <a:pos x="T10" y="T11"/>
                </a:cxn>
              </a:cxnLst>
              <a:rect l="0" t="0" r="r" b="b"/>
              <a:pathLst>
                <a:path w="260" h="182">
                  <a:moveTo>
                    <a:pt x="130" y="0"/>
                  </a:moveTo>
                  <a:cubicBezTo>
                    <a:pt x="58" y="0"/>
                    <a:pt x="0" y="58"/>
                    <a:pt x="0" y="130"/>
                  </a:cubicBezTo>
                  <a:lnTo>
                    <a:pt x="0" y="182"/>
                  </a:lnTo>
                  <a:lnTo>
                    <a:pt x="260" y="182"/>
                  </a:lnTo>
                  <a:lnTo>
                    <a:pt x="260" y="130"/>
                  </a:lnTo>
                  <a:cubicBezTo>
                    <a:pt x="260" y="58"/>
                    <a:pt x="202" y="0"/>
                    <a:pt x="13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Crowdsourcing2">
              <a:extLst>
                <a:ext uri="{FF2B5EF4-FFF2-40B4-BE49-F238E27FC236}">
                  <a16:creationId xmlns:a16="http://schemas.microsoft.com/office/drawing/2014/main" id="{6E9F29C5-DDCC-43A7-A63A-DCB6FC8115A1}"/>
                </a:ext>
              </a:extLst>
            </p:cNvPr>
            <p:cNvSpPr>
              <a:spLocks/>
            </p:cNvSpPr>
            <p:nvPr>
              <p:custDataLst>
                <p:tags r:id="rId10"/>
              </p:custDataLst>
            </p:nvPr>
          </p:nvSpPr>
          <p:spPr bwMode="auto">
            <a:xfrm>
              <a:off x="204" y="253"/>
              <a:ext cx="59" cy="20"/>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Crowdsourcing2">
              <a:extLst>
                <a:ext uri="{FF2B5EF4-FFF2-40B4-BE49-F238E27FC236}">
                  <a16:creationId xmlns:a16="http://schemas.microsoft.com/office/drawing/2014/main" id="{5A893911-9C58-443E-BDF8-FAD65F774470}"/>
                </a:ext>
              </a:extLst>
            </p:cNvPr>
            <p:cNvSpPr>
              <a:spLocks/>
            </p:cNvSpPr>
            <p:nvPr>
              <p:custDataLst>
                <p:tags r:id="rId11"/>
              </p:custDataLst>
            </p:nvPr>
          </p:nvSpPr>
          <p:spPr bwMode="auto">
            <a:xfrm>
              <a:off x="224" y="8"/>
              <a:ext cx="19" cy="59"/>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Crowdsourcing2">
              <a:extLst>
                <a:ext uri="{FF2B5EF4-FFF2-40B4-BE49-F238E27FC236}">
                  <a16:creationId xmlns:a16="http://schemas.microsoft.com/office/drawing/2014/main" id="{C81C2004-58D7-4363-ABC1-5EFE9C31FE10}"/>
                </a:ext>
              </a:extLst>
            </p:cNvPr>
            <p:cNvSpPr>
              <a:spLocks/>
            </p:cNvSpPr>
            <p:nvPr>
              <p:custDataLst>
                <p:tags r:id="rId12"/>
              </p:custDataLst>
            </p:nvPr>
          </p:nvSpPr>
          <p:spPr bwMode="auto">
            <a:xfrm>
              <a:off x="96" y="136"/>
              <a:ext cx="59" cy="19"/>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Crowdsourcing2">
              <a:extLst>
                <a:ext uri="{FF2B5EF4-FFF2-40B4-BE49-F238E27FC236}">
                  <a16:creationId xmlns:a16="http://schemas.microsoft.com/office/drawing/2014/main" id="{017116ED-49EC-4A09-BD14-D7208FC83EE3}"/>
                </a:ext>
              </a:extLst>
            </p:cNvPr>
            <p:cNvSpPr>
              <a:spLocks/>
            </p:cNvSpPr>
            <p:nvPr>
              <p:custDataLst>
                <p:tags r:id="rId13"/>
              </p:custDataLst>
            </p:nvPr>
          </p:nvSpPr>
          <p:spPr bwMode="auto">
            <a:xfrm>
              <a:off x="131" y="43"/>
              <a:ext cx="49" cy="48"/>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Crowdsourcing2">
              <a:extLst>
                <a:ext uri="{FF2B5EF4-FFF2-40B4-BE49-F238E27FC236}">
                  <a16:creationId xmlns:a16="http://schemas.microsoft.com/office/drawing/2014/main" id="{9D2640E2-86F1-404A-92F0-B34B454DE23B}"/>
                </a:ext>
              </a:extLst>
            </p:cNvPr>
            <p:cNvSpPr>
              <a:spLocks/>
            </p:cNvSpPr>
            <p:nvPr>
              <p:custDataLst>
                <p:tags r:id="rId14"/>
              </p:custDataLst>
            </p:nvPr>
          </p:nvSpPr>
          <p:spPr bwMode="auto">
            <a:xfrm>
              <a:off x="286" y="43"/>
              <a:ext cx="49" cy="48"/>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Crowdsourcing2">
              <a:extLst>
                <a:ext uri="{FF2B5EF4-FFF2-40B4-BE49-F238E27FC236}">
                  <a16:creationId xmlns:a16="http://schemas.microsoft.com/office/drawing/2014/main" id="{91D8C11B-F0E3-47C5-98C4-BE06DE6481C3}"/>
                </a:ext>
              </a:extLst>
            </p:cNvPr>
            <p:cNvSpPr>
              <a:spLocks/>
            </p:cNvSpPr>
            <p:nvPr>
              <p:custDataLst>
                <p:tags r:id="rId15"/>
              </p:custDataLst>
            </p:nvPr>
          </p:nvSpPr>
          <p:spPr bwMode="auto">
            <a:xfrm>
              <a:off x="312" y="136"/>
              <a:ext cx="59" cy="19"/>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Crowdsourcing2">
              <a:extLst>
                <a:ext uri="{FF2B5EF4-FFF2-40B4-BE49-F238E27FC236}">
                  <a16:creationId xmlns:a16="http://schemas.microsoft.com/office/drawing/2014/main" id="{FDF25D01-647C-4F3A-8C7F-E680C921ADEB}"/>
                </a:ext>
              </a:extLst>
            </p:cNvPr>
            <p:cNvSpPr>
              <a:spLocks/>
            </p:cNvSpPr>
            <p:nvPr>
              <p:custDataLst>
                <p:tags r:id="rId16"/>
              </p:custDataLst>
            </p:nvPr>
          </p:nvSpPr>
          <p:spPr bwMode="auto">
            <a:xfrm>
              <a:off x="204" y="282"/>
              <a:ext cx="59" cy="30"/>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Crowdsourcing2">
              <a:extLst>
                <a:ext uri="{FF2B5EF4-FFF2-40B4-BE49-F238E27FC236}">
                  <a16:creationId xmlns:a16="http://schemas.microsoft.com/office/drawing/2014/main" id="{58D10323-478F-40EB-AC7C-CA9F28381D53}"/>
                </a:ext>
              </a:extLst>
            </p:cNvPr>
            <p:cNvSpPr>
              <a:spLocks/>
            </p:cNvSpPr>
            <p:nvPr>
              <p:custDataLst>
                <p:tags r:id="rId17"/>
              </p:custDataLst>
            </p:nvPr>
          </p:nvSpPr>
          <p:spPr bwMode="auto">
            <a:xfrm>
              <a:off x="165" y="77"/>
              <a:ext cx="137" cy="166"/>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5" name="Picture 4">
            <a:extLst>
              <a:ext uri="{FF2B5EF4-FFF2-40B4-BE49-F238E27FC236}">
                <a16:creationId xmlns:a16="http://schemas.microsoft.com/office/drawing/2014/main" id="{482ABAA4-85DB-4562-A02C-653B9DE5488E}"/>
              </a:ext>
            </a:extLst>
          </p:cNvPr>
          <p:cNvPicPr>
            <a:picLocks noChangeAspect="1"/>
          </p:cNvPicPr>
          <p:nvPr/>
        </p:nvPicPr>
        <p:blipFill>
          <a:blip r:embed="rId19"/>
          <a:stretch>
            <a:fillRect/>
          </a:stretch>
        </p:blipFill>
        <p:spPr>
          <a:xfrm>
            <a:off x="5070869" y="1006687"/>
            <a:ext cx="6066046" cy="1207113"/>
          </a:xfrm>
          <a:prstGeom prst="rect">
            <a:avLst/>
          </a:prstGeom>
        </p:spPr>
      </p:pic>
    </p:spTree>
    <p:extLst>
      <p:ext uri="{BB962C8B-B14F-4D97-AF65-F5344CB8AC3E}">
        <p14:creationId xmlns:p14="http://schemas.microsoft.com/office/powerpoint/2010/main" val="15453173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1D4D7-A790-496C-9DE6-8F8863938311}"/>
              </a:ext>
            </a:extLst>
          </p:cNvPr>
          <p:cNvSpPr>
            <a:spLocks noGrp="1"/>
          </p:cNvSpPr>
          <p:nvPr>
            <p:ph type="title"/>
          </p:nvPr>
        </p:nvSpPr>
        <p:spPr>
          <a:xfrm>
            <a:off x="360000" y="360000"/>
            <a:ext cx="8459148" cy="748693"/>
          </a:xfrm>
        </p:spPr>
        <p:txBody>
          <a:bodyPr>
            <a:normAutofit/>
          </a:bodyPr>
          <a:lstStyle/>
          <a:p>
            <a:r>
              <a:rPr lang="mn-MN" dirty="0"/>
              <a:t>ӨНӨӨДРИЙН УУЛЗАЛ, СЕМИНАР НЬ:</a:t>
            </a:r>
            <a:endParaRPr lang="en-GB" dirty="0"/>
          </a:p>
        </p:txBody>
      </p:sp>
      <p:sp>
        <p:nvSpPr>
          <p:cNvPr id="4" name="Slide Number Placeholder 3">
            <a:extLst>
              <a:ext uri="{FF2B5EF4-FFF2-40B4-BE49-F238E27FC236}">
                <a16:creationId xmlns:a16="http://schemas.microsoft.com/office/drawing/2014/main" id="{53C86A2B-2CC3-4AE1-A384-932E65DC5E78}"/>
              </a:ext>
            </a:extLst>
          </p:cNvPr>
          <p:cNvSpPr>
            <a:spLocks noGrp="1"/>
          </p:cNvSpPr>
          <p:nvPr>
            <p:ph type="sldNum" sz="quarter" idx="12"/>
          </p:nvPr>
        </p:nvSpPr>
        <p:spPr/>
        <p:txBody>
          <a:bodyPr/>
          <a:lstStyle/>
          <a:p>
            <a:fld id="{22BD14A0-459B-CA46-A763-3163F186A6C2}" type="slidenum">
              <a:rPr lang="en-US" smtClean="0"/>
              <a:t>6</a:t>
            </a:fld>
            <a:endParaRPr lang="en-US"/>
          </a:p>
        </p:txBody>
      </p:sp>
      <p:grpSp>
        <p:nvGrpSpPr>
          <p:cNvPr id="35" name="Discussion" descr="{&quot;Key&quot;:&quot;POWER_USER_SHAPE_ICON&quot;,&quot;Value&quot;:&quot;POWER_USER_SHAPE_ICON_STYLE_1&quot;}">
            <a:extLst>
              <a:ext uri="{FF2B5EF4-FFF2-40B4-BE49-F238E27FC236}">
                <a16:creationId xmlns:a16="http://schemas.microsoft.com/office/drawing/2014/main" id="{41B164C4-E63D-4E5D-93E6-A51EF360290C}"/>
              </a:ext>
            </a:extLst>
          </p:cNvPr>
          <p:cNvGrpSpPr>
            <a:grpSpLocks noChangeAspect="1"/>
          </p:cNvGrpSpPr>
          <p:nvPr>
            <p:custDataLst>
              <p:tags r:id="rId1"/>
            </p:custDataLst>
          </p:nvPr>
        </p:nvGrpSpPr>
        <p:grpSpPr bwMode="auto">
          <a:xfrm>
            <a:off x="4606389" y="2220489"/>
            <a:ext cx="3770168" cy="3070422"/>
            <a:chOff x="2330" y="1633"/>
            <a:chExt cx="3389" cy="2760"/>
          </a:xfrm>
          <a:solidFill>
            <a:schemeClr val="accent2"/>
          </a:solidFill>
        </p:grpSpPr>
        <p:sp>
          <p:nvSpPr>
            <p:cNvPr id="36" name="Freeform 190">
              <a:extLst>
                <a:ext uri="{FF2B5EF4-FFF2-40B4-BE49-F238E27FC236}">
                  <a16:creationId xmlns:a16="http://schemas.microsoft.com/office/drawing/2014/main" id="{397DD2DB-3955-4D38-A91D-0B967EE6665E}"/>
                </a:ext>
              </a:extLst>
            </p:cNvPr>
            <p:cNvSpPr>
              <a:spLocks/>
            </p:cNvSpPr>
            <p:nvPr/>
          </p:nvSpPr>
          <p:spPr bwMode="auto">
            <a:xfrm>
              <a:off x="3916" y="1633"/>
              <a:ext cx="1281" cy="1104"/>
            </a:xfrm>
            <a:custGeom>
              <a:avLst/>
              <a:gdLst>
                <a:gd name="T0" fmla="*/ 8933 w 9734"/>
                <a:gd name="T1" fmla="*/ 5081 h 8383"/>
                <a:gd name="T2" fmla="*/ 2882 w 9734"/>
                <a:gd name="T3" fmla="*/ 7335 h 8383"/>
                <a:gd name="T4" fmla="*/ 477 w 9734"/>
                <a:gd name="T5" fmla="*/ 8383 h 8383"/>
                <a:gd name="T6" fmla="*/ 1703 w 9734"/>
                <a:gd name="T7" fmla="*/ 6700 h 8383"/>
                <a:gd name="T8" fmla="*/ 1541 w 9734"/>
                <a:gd name="T9" fmla="*/ 2401 h 8383"/>
                <a:gd name="T10" fmla="*/ 8933 w 9734"/>
                <a:gd name="T11" fmla="*/ 5081 h 8383"/>
              </a:gdLst>
              <a:ahLst/>
              <a:cxnLst>
                <a:cxn ang="0">
                  <a:pos x="T0" y="T1"/>
                </a:cxn>
                <a:cxn ang="0">
                  <a:pos x="T2" y="T3"/>
                </a:cxn>
                <a:cxn ang="0">
                  <a:pos x="T4" y="T5"/>
                </a:cxn>
                <a:cxn ang="0">
                  <a:pos x="T6" y="T7"/>
                </a:cxn>
                <a:cxn ang="0">
                  <a:pos x="T8" y="T9"/>
                </a:cxn>
                <a:cxn ang="0">
                  <a:pos x="T10" y="T11"/>
                </a:cxn>
              </a:cxnLst>
              <a:rect l="0" t="0" r="r" b="b"/>
              <a:pathLst>
                <a:path w="9734" h="8383">
                  <a:moveTo>
                    <a:pt x="8933" y="5081"/>
                  </a:moveTo>
                  <a:cubicBezTo>
                    <a:pt x="8451" y="7032"/>
                    <a:pt x="5513" y="8261"/>
                    <a:pt x="2882" y="7335"/>
                  </a:cubicBezTo>
                  <a:cubicBezTo>
                    <a:pt x="2835" y="7313"/>
                    <a:pt x="598" y="8343"/>
                    <a:pt x="477" y="8383"/>
                  </a:cubicBezTo>
                  <a:cubicBezTo>
                    <a:pt x="564" y="8255"/>
                    <a:pt x="1645" y="6779"/>
                    <a:pt x="1703" y="6700"/>
                  </a:cubicBezTo>
                  <a:cubicBezTo>
                    <a:pt x="0" y="5385"/>
                    <a:pt x="198" y="3532"/>
                    <a:pt x="1541" y="2401"/>
                  </a:cubicBezTo>
                  <a:cubicBezTo>
                    <a:pt x="4386" y="0"/>
                    <a:pt x="9734" y="1920"/>
                    <a:pt x="8933" y="50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Freeform 191">
              <a:extLst>
                <a:ext uri="{FF2B5EF4-FFF2-40B4-BE49-F238E27FC236}">
                  <a16:creationId xmlns:a16="http://schemas.microsoft.com/office/drawing/2014/main" id="{6D921826-CF0C-47D0-AF61-8685CB16F343}"/>
                </a:ext>
              </a:extLst>
            </p:cNvPr>
            <p:cNvSpPr>
              <a:spLocks/>
            </p:cNvSpPr>
            <p:nvPr/>
          </p:nvSpPr>
          <p:spPr bwMode="auto">
            <a:xfrm>
              <a:off x="2947" y="2102"/>
              <a:ext cx="1185" cy="673"/>
            </a:xfrm>
            <a:custGeom>
              <a:avLst/>
              <a:gdLst>
                <a:gd name="T0" fmla="*/ 3778 w 9015"/>
                <a:gd name="T1" fmla="*/ 314 h 5104"/>
                <a:gd name="T2" fmla="*/ 6734 w 9015"/>
                <a:gd name="T3" fmla="*/ 3851 h 5104"/>
                <a:gd name="T4" fmla="*/ 7713 w 9015"/>
                <a:gd name="T5" fmla="*/ 4973 h 5104"/>
                <a:gd name="T6" fmla="*/ 5815 w 9015"/>
                <a:gd name="T7" fmla="*/ 4269 h 5104"/>
                <a:gd name="T8" fmla="*/ 1184 w 9015"/>
                <a:gd name="T9" fmla="*/ 1582 h 5104"/>
                <a:gd name="T10" fmla="*/ 3778 w 9015"/>
                <a:gd name="T11" fmla="*/ 314 h 5104"/>
              </a:gdLst>
              <a:ahLst/>
              <a:cxnLst>
                <a:cxn ang="0">
                  <a:pos x="T0" y="T1"/>
                </a:cxn>
                <a:cxn ang="0">
                  <a:pos x="T2" y="T3"/>
                </a:cxn>
                <a:cxn ang="0">
                  <a:pos x="T4" y="T5"/>
                </a:cxn>
                <a:cxn ang="0">
                  <a:pos x="T6" y="T7"/>
                </a:cxn>
                <a:cxn ang="0">
                  <a:pos x="T8" y="T9"/>
                </a:cxn>
                <a:cxn ang="0">
                  <a:pos x="T10" y="T11"/>
                </a:cxn>
              </a:cxnLst>
              <a:rect l="0" t="0" r="r" b="b"/>
              <a:pathLst>
                <a:path w="9015" h="5104">
                  <a:moveTo>
                    <a:pt x="3778" y="314"/>
                  </a:moveTo>
                  <a:cubicBezTo>
                    <a:pt x="6980" y="0"/>
                    <a:pt x="9015" y="2387"/>
                    <a:pt x="6734" y="3851"/>
                  </a:cubicBezTo>
                  <a:cubicBezTo>
                    <a:pt x="7058" y="4227"/>
                    <a:pt x="7388" y="4598"/>
                    <a:pt x="7713" y="4973"/>
                  </a:cubicBezTo>
                  <a:cubicBezTo>
                    <a:pt x="6612" y="4565"/>
                    <a:pt x="5881" y="4289"/>
                    <a:pt x="5815" y="4269"/>
                  </a:cubicBezTo>
                  <a:cubicBezTo>
                    <a:pt x="2945" y="5104"/>
                    <a:pt x="0" y="3348"/>
                    <a:pt x="1184" y="1582"/>
                  </a:cubicBezTo>
                  <a:cubicBezTo>
                    <a:pt x="1715" y="790"/>
                    <a:pt x="2826" y="409"/>
                    <a:pt x="3778" y="31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192">
              <a:extLst>
                <a:ext uri="{FF2B5EF4-FFF2-40B4-BE49-F238E27FC236}">
                  <a16:creationId xmlns:a16="http://schemas.microsoft.com/office/drawing/2014/main" id="{37F18DD8-D790-4002-A1B2-1D38D6131DE5}"/>
                </a:ext>
              </a:extLst>
            </p:cNvPr>
            <p:cNvSpPr>
              <a:spLocks/>
            </p:cNvSpPr>
            <p:nvPr/>
          </p:nvSpPr>
          <p:spPr bwMode="auto">
            <a:xfrm>
              <a:off x="2330" y="2493"/>
              <a:ext cx="1215" cy="1000"/>
            </a:xfrm>
            <a:custGeom>
              <a:avLst/>
              <a:gdLst>
                <a:gd name="T0" fmla="*/ 6184 w 9235"/>
                <a:gd name="T1" fmla="*/ 1063 h 7586"/>
                <a:gd name="T2" fmla="*/ 7333 w 9235"/>
                <a:gd name="T3" fmla="*/ 5949 h 7586"/>
                <a:gd name="T4" fmla="*/ 8430 w 9235"/>
                <a:gd name="T5" fmla="*/ 7586 h 7586"/>
                <a:gd name="T6" fmla="*/ 6247 w 9235"/>
                <a:gd name="T7" fmla="*/ 6575 h 7586"/>
                <a:gd name="T8" fmla="*/ 788 w 9235"/>
                <a:gd name="T9" fmla="*/ 4568 h 7586"/>
                <a:gd name="T10" fmla="*/ 6184 w 9235"/>
                <a:gd name="T11" fmla="*/ 1063 h 7586"/>
              </a:gdLst>
              <a:ahLst/>
              <a:cxnLst>
                <a:cxn ang="0">
                  <a:pos x="T0" y="T1"/>
                </a:cxn>
                <a:cxn ang="0">
                  <a:pos x="T2" y="T3"/>
                </a:cxn>
                <a:cxn ang="0">
                  <a:pos x="T4" y="T5"/>
                </a:cxn>
                <a:cxn ang="0">
                  <a:pos x="T6" y="T7"/>
                </a:cxn>
                <a:cxn ang="0">
                  <a:pos x="T8" y="T9"/>
                </a:cxn>
                <a:cxn ang="0">
                  <a:pos x="T10" y="T11"/>
                </a:cxn>
              </a:cxnLst>
              <a:rect l="0" t="0" r="r" b="b"/>
              <a:pathLst>
                <a:path w="9235" h="7586">
                  <a:moveTo>
                    <a:pt x="6184" y="1063"/>
                  </a:moveTo>
                  <a:cubicBezTo>
                    <a:pt x="8537" y="1918"/>
                    <a:pt x="9235" y="4408"/>
                    <a:pt x="7333" y="5949"/>
                  </a:cubicBezTo>
                  <a:cubicBezTo>
                    <a:pt x="7292" y="5967"/>
                    <a:pt x="8243" y="7286"/>
                    <a:pt x="8430" y="7586"/>
                  </a:cubicBezTo>
                  <a:cubicBezTo>
                    <a:pt x="8004" y="7400"/>
                    <a:pt x="6290" y="6553"/>
                    <a:pt x="6247" y="6575"/>
                  </a:cubicBezTo>
                  <a:cubicBezTo>
                    <a:pt x="3927" y="7441"/>
                    <a:pt x="1344" y="6361"/>
                    <a:pt x="788" y="4568"/>
                  </a:cubicBezTo>
                  <a:cubicBezTo>
                    <a:pt x="0" y="2048"/>
                    <a:pt x="3276" y="0"/>
                    <a:pt x="6184" y="10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193">
              <a:extLst>
                <a:ext uri="{FF2B5EF4-FFF2-40B4-BE49-F238E27FC236}">
                  <a16:creationId xmlns:a16="http://schemas.microsoft.com/office/drawing/2014/main" id="{EBE29C9A-3F6A-4706-9C11-19F692C138A8}"/>
                </a:ext>
              </a:extLst>
            </p:cNvPr>
            <p:cNvSpPr>
              <a:spLocks/>
            </p:cNvSpPr>
            <p:nvPr/>
          </p:nvSpPr>
          <p:spPr bwMode="auto">
            <a:xfrm>
              <a:off x="4426" y="2518"/>
              <a:ext cx="1293" cy="824"/>
            </a:xfrm>
            <a:custGeom>
              <a:avLst/>
              <a:gdLst>
                <a:gd name="T0" fmla="*/ 2443 w 9838"/>
                <a:gd name="T1" fmla="*/ 1161 h 6253"/>
                <a:gd name="T2" fmla="*/ 7002 w 9838"/>
                <a:gd name="T3" fmla="*/ 4910 h 6253"/>
                <a:gd name="T4" fmla="*/ 2446 w 9838"/>
                <a:gd name="T5" fmla="*/ 5452 h 6253"/>
                <a:gd name="T6" fmla="*/ 285 w 9838"/>
                <a:gd name="T7" fmla="*/ 6253 h 6253"/>
                <a:gd name="T8" fmla="*/ 1396 w 9838"/>
                <a:gd name="T9" fmla="*/ 4978 h 6253"/>
                <a:gd name="T10" fmla="*/ 680 w 9838"/>
                <a:gd name="T11" fmla="*/ 4346 h 6253"/>
                <a:gd name="T12" fmla="*/ 1134 w 9838"/>
                <a:gd name="T13" fmla="*/ 1817 h 6253"/>
                <a:gd name="T14" fmla="*/ 2443 w 9838"/>
                <a:gd name="T15" fmla="*/ 1161 h 62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38" h="6253">
                  <a:moveTo>
                    <a:pt x="2443" y="1161"/>
                  </a:moveTo>
                  <a:cubicBezTo>
                    <a:pt x="6232" y="0"/>
                    <a:pt x="9838" y="2960"/>
                    <a:pt x="7002" y="4910"/>
                  </a:cubicBezTo>
                  <a:cubicBezTo>
                    <a:pt x="5788" y="5728"/>
                    <a:pt x="3962" y="5893"/>
                    <a:pt x="2446" y="5452"/>
                  </a:cubicBezTo>
                  <a:cubicBezTo>
                    <a:pt x="2399" y="5460"/>
                    <a:pt x="2537" y="5415"/>
                    <a:pt x="285" y="6253"/>
                  </a:cubicBezTo>
                  <a:cubicBezTo>
                    <a:pt x="654" y="5827"/>
                    <a:pt x="1028" y="5405"/>
                    <a:pt x="1396" y="4978"/>
                  </a:cubicBezTo>
                  <a:cubicBezTo>
                    <a:pt x="1363" y="4943"/>
                    <a:pt x="988" y="4734"/>
                    <a:pt x="680" y="4346"/>
                  </a:cubicBezTo>
                  <a:cubicBezTo>
                    <a:pt x="0" y="3484"/>
                    <a:pt x="269" y="2490"/>
                    <a:pt x="1134" y="1817"/>
                  </a:cubicBezTo>
                  <a:cubicBezTo>
                    <a:pt x="1522" y="1515"/>
                    <a:pt x="1975" y="1304"/>
                    <a:pt x="2443" y="116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194">
              <a:extLst>
                <a:ext uri="{FF2B5EF4-FFF2-40B4-BE49-F238E27FC236}">
                  <a16:creationId xmlns:a16="http://schemas.microsoft.com/office/drawing/2014/main" id="{6E6F168D-1F7B-4FBE-8058-3DC9914AA4C8}"/>
                </a:ext>
              </a:extLst>
            </p:cNvPr>
            <p:cNvSpPr>
              <a:spLocks/>
            </p:cNvSpPr>
            <p:nvPr/>
          </p:nvSpPr>
          <p:spPr bwMode="auto">
            <a:xfrm>
              <a:off x="3710" y="2785"/>
              <a:ext cx="545" cy="580"/>
            </a:xfrm>
            <a:custGeom>
              <a:avLst/>
              <a:gdLst>
                <a:gd name="T0" fmla="*/ 1062 w 4144"/>
                <a:gd name="T1" fmla="*/ 710 h 4404"/>
                <a:gd name="T2" fmla="*/ 4015 w 4144"/>
                <a:gd name="T3" fmla="*/ 2381 h 4404"/>
                <a:gd name="T4" fmla="*/ 1184 w 4144"/>
                <a:gd name="T5" fmla="*/ 3812 h 4404"/>
                <a:gd name="T6" fmla="*/ 92 w 4144"/>
                <a:gd name="T7" fmla="*/ 4397 h 4404"/>
                <a:gd name="T8" fmla="*/ 654 w 4144"/>
                <a:gd name="T9" fmla="*/ 3465 h 4404"/>
                <a:gd name="T10" fmla="*/ 109 w 4144"/>
                <a:gd name="T11" fmla="*/ 2482 h 4404"/>
                <a:gd name="T12" fmla="*/ 1062 w 4144"/>
                <a:gd name="T13" fmla="*/ 710 h 4404"/>
              </a:gdLst>
              <a:ahLst/>
              <a:cxnLst>
                <a:cxn ang="0">
                  <a:pos x="T0" y="T1"/>
                </a:cxn>
                <a:cxn ang="0">
                  <a:pos x="T2" y="T3"/>
                </a:cxn>
                <a:cxn ang="0">
                  <a:pos x="T4" y="T5"/>
                </a:cxn>
                <a:cxn ang="0">
                  <a:pos x="T6" y="T7"/>
                </a:cxn>
                <a:cxn ang="0">
                  <a:pos x="T8" y="T9"/>
                </a:cxn>
                <a:cxn ang="0">
                  <a:pos x="T10" y="T11"/>
                </a:cxn>
                <a:cxn ang="0">
                  <a:pos x="T12" y="T13"/>
                </a:cxn>
              </a:cxnLst>
              <a:rect l="0" t="0" r="r" b="b"/>
              <a:pathLst>
                <a:path w="4144" h="4404">
                  <a:moveTo>
                    <a:pt x="1062" y="710"/>
                  </a:moveTo>
                  <a:cubicBezTo>
                    <a:pt x="2407" y="0"/>
                    <a:pt x="4144" y="932"/>
                    <a:pt x="4015" y="2381"/>
                  </a:cubicBezTo>
                  <a:cubicBezTo>
                    <a:pt x="3911" y="3574"/>
                    <a:pt x="2471" y="4364"/>
                    <a:pt x="1184" y="3812"/>
                  </a:cubicBezTo>
                  <a:cubicBezTo>
                    <a:pt x="88" y="4404"/>
                    <a:pt x="157" y="4367"/>
                    <a:pt x="92" y="4397"/>
                  </a:cubicBezTo>
                  <a:cubicBezTo>
                    <a:pt x="172" y="4256"/>
                    <a:pt x="623" y="3513"/>
                    <a:pt x="654" y="3465"/>
                  </a:cubicBezTo>
                  <a:cubicBezTo>
                    <a:pt x="586" y="3391"/>
                    <a:pt x="197" y="3055"/>
                    <a:pt x="109" y="2482"/>
                  </a:cubicBezTo>
                  <a:cubicBezTo>
                    <a:pt x="0" y="1731"/>
                    <a:pt x="409" y="1049"/>
                    <a:pt x="1062" y="7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195">
              <a:extLst>
                <a:ext uri="{FF2B5EF4-FFF2-40B4-BE49-F238E27FC236}">
                  <a16:creationId xmlns:a16="http://schemas.microsoft.com/office/drawing/2014/main" id="{F864C853-DEE5-486C-9943-423194B3EE1E}"/>
                </a:ext>
              </a:extLst>
            </p:cNvPr>
            <p:cNvSpPr>
              <a:spLocks/>
            </p:cNvSpPr>
            <p:nvPr/>
          </p:nvSpPr>
          <p:spPr bwMode="auto">
            <a:xfrm>
              <a:off x="4834" y="3420"/>
              <a:ext cx="314" cy="299"/>
            </a:xfrm>
            <a:custGeom>
              <a:avLst/>
              <a:gdLst>
                <a:gd name="T0" fmla="*/ 1616 w 2384"/>
                <a:gd name="T1" fmla="*/ 408 h 2274"/>
                <a:gd name="T2" fmla="*/ 724 w 2384"/>
                <a:gd name="T3" fmla="*/ 1952 h 2274"/>
                <a:gd name="T4" fmla="*/ 175 w 2384"/>
                <a:gd name="T5" fmla="*/ 785 h 2274"/>
                <a:gd name="T6" fmla="*/ 1616 w 2384"/>
                <a:gd name="T7" fmla="*/ 408 h 2274"/>
              </a:gdLst>
              <a:ahLst/>
              <a:cxnLst>
                <a:cxn ang="0">
                  <a:pos x="T0" y="T1"/>
                </a:cxn>
                <a:cxn ang="0">
                  <a:pos x="T2" y="T3"/>
                </a:cxn>
                <a:cxn ang="0">
                  <a:pos x="T4" y="T5"/>
                </a:cxn>
                <a:cxn ang="0">
                  <a:pos x="T6" y="T7"/>
                </a:cxn>
              </a:cxnLst>
              <a:rect l="0" t="0" r="r" b="b"/>
              <a:pathLst>
                <a:path w="2384" h="2274">
                  <a:moveTo>
                    <a:pt x="1616" y="408"/>
                  </a:moveTo>
                  <a:cubicBezTo>
                    <a:pt x="2384" y="1127"/>
                    <a:pt x="1634" y="2274"/>
                    <a:pt x="724" y="1952"/>
                  </a:cubicBezTo>
                  <a:cubicBezTo>
                    <a:pt x="258" y="1793"/>
                    <a:pt x="0" y="1264"/>
                    <a:pt x="175" y="785"/>
                  </a:cubicBezTo>
                  <a:cubicBezTo>
                    <a:pt x="386" y="191"/>
                    <a:pt x="1148" y="0"/>
                    <a:pt x="1616" y="4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196">
              <a:extLst>
                <a:ext uri="{FF2B5EF4-FFF2-40B4-BE49-F238E27FC236}">
                  <a16:creationId xmlns:a16="http://schemas.microsoft.com/office/drawing/2014/main" id="{EA8D2101-B751-4AA0-8416-E84BB1C78350}"/>
                </a:ext>
              </a:extLst>
            </p:cNvPr>
            <p:cNvSpPr>
              <a:spLocks/>
            </p:cNvSpPr>
            <p:nvPr/>
          </p:nvSpPr>
          <p:spPr bwMode="auto">
            <a:xfrm>
              <a:off x="3928" y="3431"/>
              <a:ext cx="321" cy="295"/>
            </a:xfrm>
            <a:custGeom>
              <a:avLst/>
              <a:gdLst>
                <a:gd name="T0" fmla="*/ 1024 w 2442"/>
                <a:gd name="T1" fmla="*/ 125 h 2240"/>
                <a:gd name="T2" fmla="*/ 1611 w 2442"/>
                <a:gd name="T3" fmla="*/ 1803 h 2240"/>
                <a:gd name="T4" fmla="*/ 293 w 2442"/>
                <a:gd name="T5" fmla="*/ 712 h 2240"/>
                <a:gd name="T6" fmla="*/ 1024 w 2442"/>
                <a:gd name="T7" fmla="*/ 125 h 2240"/>
              </a:gdLst>
              <a:ahLst/>
              <a:cxnLst>
                <a:cxn ang="0">
                  <a:pos x="T0" y="T1"/>
                </a:cxn>
                <a:cxn ang="0">
                  <a:pos x="T2" y="T3"/>
                </a:cxn>
                <a:cxn ang="0">
                  <a:pos x="T4" y="T5"/>
                </a:cxn>
                <a:cxn ang="0">
                  <a:pos x="T6" y="T7"/>
                </a:cxn>
              </a:cxnLst>
              <a:rect l="0" t="0" r="r" b="b"/>
              <a:pathLst>
                <a:path w="2442" h="2240">
                  <a:moveTo>
                    <a:pt x="1024" y="125"/>
                  </a:moveTo>
                  <a:cubicBezTo>
                    <a:pt x="2007" y="0"/>
                    <a:pt x="2442" y="1293"/>
                    <a:pt x="1611" y="1803"/>
                  </a:cubicBezTo>
                  <a:cubicBezTo>
                    <a:pt x="877" y="2240"/>
                    <a:pt x="0" y="1510"/>
                    <a:pt x="293" y="712"/>
                  </a:cubicBezTo>
                  <a:cubicBezTo>
                    <a:pt x="404" y="401"/>
                    <a:pt x="697" y="166"/>
                    <a:pt x="1024" y="1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Freeform 197">
              <a:extLst>
                <a:ext uri="{FF2B5EF4-FFF2-40B4-BE49-F238E27FC236}">
                  <a16:creationId xmlns:a16="http://schemas.microsoft.com/office/drawing/2014/main" id="{E7C92518-274C-4922-B9BA-F094CF336CAF}"/>
                </a:ext>
              </a:extLst>
            </p:cNvPr>
            <p:cNvSpPr>
              <a:spLocks/>
            </p:cNvSpPr>
            <p:nvPr/>
          </p:nvSpPr>
          <p:spPr bwMode="auto">
            <a:xfrm>
              <a:off x="4387" y="3418"/>
              <a:ext cx="300" cy="300"/>
            </a:xfrm>
            <a:custGeom>
              <a:avLst/>
              <a:gdLst>
                <a:gd name="T0" fmla="*/ 1761 w 2279"/>
                <a:gd name="T1" fmla="*/ 594 h 2283"/>
                <a:gd name="T2" fmla="*/ 724 w 2279"/>
                <a:gd name="T3" fmla="*/ 1983 h 2283"/>
                <a:gd name="T4" fmla="*/ 175 w 2279"/>
                <a:gd name="T5" fmla="*/ 816 h 2283"/>
                <a:gd name="T6" fmla="*/ 1761 w 2279"/>
                <a:gd name="T7" fmla="*/ 594 h 2283"/>
              </a:gdLst>
              <a:ahLst/>
              <a:cxnLst>
                <a:cxn ang="0">
                  <a:pos x="T0" y="T1"/>
                </a:cxn>
                <a:cxn ang="0">
                  <a:pos x="T2" y="T3"/>
                </a:cxn>
                <a:cxn ang="0">
                  <a:pos x="T4" y="T5"/>
                </a:cxn>
                <a:cxn ang="0">
                  <a:pos x="T6" y="T7"/>
                </a:cxn>
              </a:cxnLst>
              <a:rect l="0" t="0" r="r" b="b"/>
              <a:pathLst>
                <a:path w="2279" h="2283">
                  <a:moveTo>
                    <a:pt x="1761" y="594"/>
                  </a:moveTo>
                  <a:cubicBezTo>
                    <a:pt x="2279" y="1298"/>
                    <a:pt x="1571" y="2283"/>
                    <a:pt x="724" y="1983"/>
                  </a:cubicBezTo>
                  <a:cubicBezTo>
                    <a:pt x="258" y="1823"/>
                    <a:pt x="0" y="1294"/>
                    <a:pt x="175" y="816"/>
                  </a:cubicBezTo>
                  <a:cubicBezTo>
                    <a:pt x="412" y="147"/>
                    <a:pt x="1335" y="0"/>
                    <a:pt x="1761" y="59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Freeform 198">
              <a:extLst>
                <a:ext uri="{FF2B5EF4-FFF2-40B4-BE49-F238E27FC236}">
                  <a16:creationId xmlns:a16="http://schemas.microsoft.com/office/drawing/2014/main" id="{70C0ED09-410D-4010-B4B6-F7225181A975}"/>
                </a:ext>
              </a:extLst>
            </p:cNvPr>
            <p:cNvSpPr>
              <a:spLocks/>
            </p:cNvSpPr>
            <p:nvPr/>
          </p:nvSpPr>
          <p:spPr bwMode="auto">
            <a:xfrm>
              <a:off x="3496" y="3423"/>
              <a:ext cx="315" cy="300"/>
            </a:xfrm>
            <a:custGeom>
              <a:avLst/>
              <a:gdLst>
                <a:gd name="T0" fmla="*/ 1616 w 2393"/>
                <a:gd name="T1" fmla="*/ 410 h 2281"/>
                <a:gd name="T2" fmla="*/ 715 w 2393"/>
                <a:gd name="T3" fmla="*/ 1951 h 2281"/>
                <a:gd name="T4" fmla="*/ 175 w 2393"/>
                <a:gd name="T5" fmla="*/ 787 h 2281"/>
                <a:gd name="T6" fmla="*/ 1616 w 2393"/>
                <a:gd name="T7" fmla="*/ 410 h 2281"/>
              </a:gdLst>
              <a:ahLst/>
              <a:cxnLst>
                <a:cxn ang="0">
                  <a:pos x="T0" y="T1"/>
                </a:cxn>
                <a:cxn ang="0">
                  <a:pos x="T2" y="T3"/>
                </a:cxn>
                <a:cxn ang="0">
                  <a:pos x="T4" y="T5"/>
                </a:cxn>
                <a:cxn ang="0">
                  <a:pos x="T6" y="T7"/>
                </a:cxn>
              </a:cxnLst>
              <a:rect l="0" t="0" r="r" b="b"/>
              <a:pathLst>
                <a:path w="2393" h="2281">
                  <a:moveTo>
                    <a:pt x="1616" y="410"/>
                  </a:moveTo>
                  <a:cubicBezTo>
                    <a:pt x="2393" y="1136"/>
                    <a:pt x="1618" y="2281"/>
                    <a:pt x="715" y="1951"/>
                  </a:cubicBezTo>
                  <a:cubicBezTo>
                    <a:pt x="256" y="1788"/>
                    <a:pt x="0" y="1264"/>
                    <a:pt x="175" y="787"/>
                  </a:cubicBezTo>
                  <a:cubicBezTo>
                    <a:pt x="385" y="195"/>
                    <a:pt x="1146" y="0"/>
                    <a:pt x="1616" y="4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199">
              <a:extLst>
                <a:ext uri="{FF2B5EF4-FFF2-40B4-BE49-F238E27FC236}">
                  <a16:creationId xmlns:a16="http://schemas.microsoft.com/office/drawing/2014/main" id="{97C66927-3669-4223-B60B-64ADF38B4D51}"/>
                </a:ext>
              </a:extLst>
            </p:cNvPr>
            <p:cNvSpPr>
              <a:spLocks/>
            </p:cNvSpPr>
            <p:nvPr/>
          </p:nvSpPr>
          <p:spPr bwMode="auto">
            <a:xfrm>
              <a:off x="3018" y="3425"/>
              <a:ext cx="295" cy="305"/>
            </a:xfrm>
            <a:custGeom>
              <a:avLst/>
              <a:gdLst>
                <a:gd name="T0" fmla="*/ 1733 w 2237"/>
                <a:gd name="T1" fmla="*/ 409 h 2315"/>
                <a:gd name="T2" fmla="*/ 1611 w 2237"/>
                <a:gd name="T3" fmla="*/ 1878 h 2315"/>
                <a:gd name="T4" fmla="*/ 293 w 2237"/>
                <a:gd name="T5" fmla="*/ 787 h 2315"/>
                <a:gd name="T6" fmla="*/ 1733 w 2237"/>
                <a:gd name="T7" fmla="*/ 409 h 2315"/>
              </a:gdLst>
              <a:ahLst/>
              <a:cxnLst>
                <a:cxn ang="0">
                  <a:pos x="T0" y="T1"/>
                </a:cxn>
                <a:cxn ang="0">
                  <a:pos x="T2" y="T3"/>
                </a:cxn>
                <a:cxn ang="0">
                  <a:pos x="T4" y="T5"/>
                </a:cxn>
                <a:cxn ang="0">
                  <a:pos x="T6" y="T7"/>
                </a:cxn>
              </a:cxnLst>
              <a:rect l="0" t="0" r="r" b="b"/>
              <a:pathLst>
                <a:path w="2237" h="2315">
                  <a:moveTo>
                    <a:pt x="1733" y="409"/>
                  </a:moveTo>
                  <a:cubicBezTo>
                    <a:pt x="2237" y="880"/>
                    <a:pt x="2104" y="1575"/>
                    <a:pt x="1611" y="1878"/>
                  </a:cubicBezTo>
                  <a:cubicBezTo>
                    <a:pt x="876" y="2315"/>
                    <a:pt x="0" y="1585"/>
                    <a:pt x="293" y="787"/>
                  </a:cubicBezTo>
                  <a:cubicBezTo>
                    <a:pt x="503" y="195"/>
                    <a:pt x="1264" y="0"/>
                    <a:pt x="1733" y="40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Freeform 200">
              <a:extLst>
                <a:ext uri="{FF2B5EF4-FFF2-40B4-BE49-F238E27FC236}">
                  <a16:creationId xmlns:a16="http://schemas.microsoft.com/office/drawing/2014/main" id="{18E97F76-3641-43F2-ABF8-975F31FD71DF}"/>
                </a:ext>
              </a:extLst>
            </p:cNvPr>
            <p:cNvSpPr>
              <a:spLocks/>
            </p:cNvSpPr>
            <p:nvPr/>
          </p:nvSpPr>
          <p:spPr bwMode="auto">
            <a:xfrm>
              <a:off x="2587" y="3426"/>
              <a:ext cx="313" cy="300"/>
            </a:xfrm>
            <a:custGeom>
              <a:avLst/>
              <a:gdLst>
                <a:gd name="T0" fmla="*/ 1616 w 2385"/>
                <a:gd name="T1" fmla="*/ 409 h 2276"/>
                <a:gd name="T2" fmla="*/ 725 w 2385"/>
                <a:gd name="T3" fmla="*/ 1953 h 2276"/>
                <a:gd name="T4" fmla="*/ 176 w 2385"/>
                <a:gd name="T5" fmla="*/ 786 h 2276"/>
                <a:gd name="T6" fmla="*/ 1616 w 2385"/>
                <a:gd name="T7" fmla="*/ 409 h 2276"/>
              </a:gdLst>
              <a:ahLst/>
              <a:cxnLst>
                <a:cxn ang="0">
                  <a:pos x="T0" y="T1"/>
                </a:cxn>
                <a:cxn ang="0">
                  <a:pos x="T2" y="T3"/>
                </a:cxn>
                <a:cxn ang="0">
                  <a:pos x="T4" y="T5"/>
                </a:cxn>
                <a:cxn ang="0">
                  <a:pos x="T6" y="T7"/>
                </a:cxn>
              </a:cxnLst>
              <a:rect l="0" t="0" r="r" b="b"/>
              <a:pathLst>
                <a:path w="2385" h="2276">
                  <a:moveTo>
                    <a:pt x="1616" y="409"/>
                  </a:moveTo>
                  <a:cubicBezTo>
                    <a:pt x="2385" y="1127"/>
                    <a:pt x="1635" y="2276"/>
                    <a:pt x="725" y="1953"/>
                  </a:cubicBezTo>
                  <a:cubicBezTo>
                    <a:pt x="259" y="1794"/>
                    <a:pt x="0" y="1265"/>
                    <a:pt x="176" y="786"/>
                  </a:cubicBezTo>
                  <a:cubicBezTo>
                    <a:pt x="386" y="193"/>
                    <a:pt x="1148" y="0"/>
                    <a:pt x="1616" y="40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201">
              <a:extLst>
                <a:ext uri="{FF2B5EF4-FFF2-40B4-BE49-F238E27FC236}">
                  <a16:creationId xmlns:a16="http://schemas.microsoft.com/office/drawing/2014/main" id="{DF320373-F1D6-4526-9E32-14839282F0E3}"/>
                </a:ext>
              </a:extLst>
            </p:cNvPr>
            <p:cNvSpPr>
              <a:spLocks/>
            </p:cNvSpPr>
            <p:nvPr/>
          </p:nvSpPr>
          <p:spPr bwMode="auto">
            <a:xfrm>
              <a:off x="4845" y="3647"/>
              <a:ext cx="246" cy="703"/>
            </a:xfrm>
            <a:custGeom>
              <a:avLst/>
              <a:gdLst>
                <a:gd name="T0" fmla="*/ 70 w 1867"/>
                <a:gd name="T1" fmla="*/ 166 h 5336"/>
                <a:gd name="T2" fmla="*/ 391 w 1867"/>
                <a:gd name="T3" fmla="*/ 166 h 5336"/>
                <a:gd name="T4" fmla="*/ 1435 w 1867"/>
                <a:gd name="T5" fmla="*/ 190 h 5336"/>
                <a:gd name="T6" fmla="*/ 1506 w 1867"/>
                <a:gd name="T7" fmla="*/ 165 h 5336"/>
                <a:gd name="T8" fmla="*/ 1854 w 1867"/>
                <a:gd name="T9" fmla="*/ 223 h 5336"/>
                <a:gd name="T10" fmla="*/ 1843 w 1867"/>
                <a:gd name="T11" fmla="*/ 5175 h 5336"/>
                <a:gd name="T12" fmla="*/ 1131 w 1867"/>
                <a:gd name="T13" fmla="*/ 5299 h 5336"/>
                <a:gd name="T14" fmla="*/ 969 w 1867"/>
                <a:gd name="T15" fmla="*/ 5175 h 5336"/>
                <a:gd name="T16" fmla="*/ 968 w 1867"/>
                <a:gd name="T17" fmla="*/ 3335 h 5336"/>
                <a:gd name="T18" fmla="*/ 920 w 1867"/>
                <a:gd name="T19" fmla="*/ 3335 h 5336"/>
                <a:gd name="T20" fmla="*/ 915 w 1867"/>
                <a:gd name="T21" fmla="*/ 5221 h 5336"/>
                <a:gd name="T22" fmla="*/ 168 w 1867"/>
                <a:gd name="T23" fmla="*/ 5299 h 5336"/>
                <a:gd name="T24" fmla="*/ 44 w 1867"/>
                <a:gd name="T25" fmla="*/ 5175 h 5336"/>
                <a:gd name="T26" fmla="*/ 70 w 1867"/>
                <a:gd name="T27" fmla="*/ 166 h 5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67" h="5336">
                  <a:moveTo>
                    <a:pt x="70" y="166"/>
                  </a:moveTo>
                  <a:cubicBezTo>
                    <a:pt x="177" y="165"/>
                    <a:pt x="285" y="164"/>
                    <a:pt x="391" y="166"/>
                  </a:cubicBezTo>
                  <a:cubicBezTo>
                    <a:pt x="423" y="176"/>
                    <a:pt x="898" y="476"/>
                    <a:pt x="1435" y="190"/>
                  </a:cubicBezTo>
                  <a:cubicBezTo>
                    <a:pt x="1457" y="178"/>
                    <a:pt x="1479" y="163"/>
                    <a:pt x="1506" y="165"/>
                  </a:cubicBezTo>
                  <a:cubicBezTo>
                    <a:pt x="1794" y="166"/>
                    <a:pt x="1867" y="149"/>
                    <a:pt x="1854" y="223"/>
                  </a:cubicBezTo>
                  <a:cubicBezTo>
                    <a:pt x="1853" y="4775"/>
                    <a:pt x="1850" y="945"/>
                    <a:pt x="1843" y="5175"/>
                  </a:cubicBezTo>
                  <a:cubicBezTo>
                    <a:pt x="1843" y="5336"/>
                    <a:pt x="1689" y="5295"/>
                    <a:pt x="1131" y="5299"/>
                  </a:cubicBezTo>
                  <a:cubicBezTo>
                    <a:pt x="973" y="5302"/>
                    <a:pt x="973" y="5234"/>
                    <a:pt x="969" y="5175"/>
                  </a:cubicBezTo>
                  <a:cubicBezTo>
                    <a:pt x="968" y="4561"/>
                    <a:pt x="970" y="3948"/>
                    <a:pt x="968" y="3335"/>
                  </a:cubicBezTo>
                  <a:cubicBezTo>
                    <a:pt x="952" y="3335"/>
                    <a:pt x="935" y="3335"/>
                    <a:pt x="920" y="3335"/>
                  </a:cubicBezTo>
                  <a:cubicBezTo>
                    <a:pt x="916" y="4519"/>
                    <a:pt x="923" y="5152"/>
                    <a:pt x="915" y="5221"/>
                  </a:cubicBezTo>
                  <a:cubicBezTo>
                    <a:pt x="851" y="5323"/>
                    <a:pt x="820" y="5299"/>
                    <a:pt x="168" y="5299"/>
                  </a:cubicBezTo>
                  <a:cubicBezTo>
                    <a:pt x="102" y="5303"/>
                    <a:pt x="40" y="5241"/>
                    <a:pt x="44" y="5175"/>
                  </a:cubicBezTo>
                  <a:cubicBezTo>
                    <a:pt x="46" y="0"/>
                    <a:pt x="0" y="155"/>
                    <a:pt x="70" y="16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202">
              <a:extLst>
                <a:ext uri="{FF2B5EF4-FFF2-40B4-BE49-F238E27FC236}">
                  <a16:creationId xmlns:a16="http://schemas.microsoft.com/office/drawing/2014/main" id="{16F8AE1D-17D9-46BA-A054-8DB818F4D5DE}"/>
                </a:ext>
              </a:extLst>
            </p:cNvPr>
            <p:cNvSpPr>
              <a:spLocks/>
            </p:cNvSpPr>
            <p:nvPr/>
          </p:nvSpPr>
          <p:spPr bwMode="auto">
            <a:xfrm>
              <a:off x="5092" y="3660"/>
              <a:ext cx="46" cy="294"/>
            </a:xfrm>
            <a:custGeom>
              <a:avLst/>
              <a:gdLst>
                <a:gd name="T0" fmla="*/ 35 w 354"/>
                <a:gd name="T1" fmla="*/ 65 h 2236"/>
                <a:gd name="T2" fmla="*/ 330 w 354"/>
                <a:gd name="T3" fmla="*/ 401 h 2236"/>
                <a:gd name="T4" fmla="*/ 259 w 354"/>
                <a:gd name="T5" fmla="*/ 2078 h 2236"/>
                <a:gd name="T6" fmla="*/ 45 w 354"/>
                <a:gd name="T7" fmla="*/ 2236 h 2236"/>
                <a:gd name="T8" fmla="*/ 27 w 354"/>
                <a:gd name="T9" fmla="*/ 2232 h 2236"/>
                <a:gd name="T10" fmla="*/ 11 w 354"/>
                <a:gd name="T11" fmla="*/ 2076 h 2236"/>
                <a:gd name="T12" fmla="*/ 35 w 354"/>
                <a:gd name="T13" fmla="*/ 65 h 2236"/>
              </a:gdLst>
              <a:ahLst/>
              <a:cxnLst>
                <a:cxn ang="0">
                  <a:pos x="T0" y="T1"/>
                </a:cxn>
                <a:cxn ang="0">
                  <a:pos x="T2" y="T3"/>
                </a:cxn>
                <a:cxn ang="0">
                  <a:pos x="T4" y="T5"/>
                </a:cxn>
                <a:cxn ang="0">
                  <a:pos x="T6" y="T7"/>
                </a:cxn>
                <a:cxn ang="0">
                  <a:pos x="T8" y="T9"/>
                </a:cxn>
                <a:cxn ang="0">
                  <a:pos x="T10" y="T11"/>
                </a:cxn>
                <a:cxn ang="0">
                  <a:pos x="T12" y="T13"/>
                </a:cxn>
              </a:cxnLst>
              <a:rect l="0" t="0" r="r" b="b"/>
              <a:pathLst>
                <a:path w="354" h="2236">
                  <a:moveTo>
                    <a:pt x="35" y="65"/>
                  </a:moveTo>
                  <a:cubicBezTo>
                    <a:pt x="198" y="108"/>
                    <a:pt x="325" y="268"/>
                    <a:pt x="330" y="401"/>
                  </a:cubicBezTo>
                  <a:cubicBezTo>
                    <a:pt x="330" y="2073"/>
                    <a:pt x="354" y="1955"/>
                    <a:pt x="259" y="2078"/>
                  </a:cubicBezTo>
                  <a:cubicBezTo>
                    <a:pt x="207" y="2152"/>
                    <a:pt x="130" y="2207"/>
                    <a:pt x="45" y="2236"/>
                  </a:cubicBezTo>
                  <a:cubicBezTo>
                    <a:pt x="40" y="2235"/>
                    <a:pt x="31" y="2233"/>
                    <a:pt x="27" y="2232"/>
                  </a:cubicBezTo>
                  <a:cubicBezTo>
                    <a:pt x="3" y="2183"/>
                    <a:pt x="12" y="2128"/>
                    <a:pt x="11" y="2076"/>
                  </a:cubicBezTo>
                  <a:cubicBezTo>
                    <a:pt x="11" y="0"/>
                    <a:pt x="0" y="95"/>
                    <a:pt x="35" y="6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203">
              <a:extLst>
                <a:ext uri="{FF2B5EF4-FFF2-40B4-BE49-F238E27FC236}">
                  <a16:creationId xmlns:a16="http://schemas.microsoft.com/office/drawing/2014/main" id="{9F1EC159-3504-4967-985D-FDA423BF1C45}"/>
                </a:ext>
              </a:extLst>
            </p:cNvPr>
            <p:cNvSpPr>
              <a:spLocks/>
            </p:cNvSpPr>
            <p:nvPr/>
          </p:nvSpPr>
          <p:spPr bwMode="auto">
            <a:xfrm>
              <a:off x="3953" y="3636"/>
              <a:ext cx="246" cy="718"/>
            </a:xfrm>
            <a:custGeom>
              <a:avLst/>
              <a:gdLst>
                <a:gd name="T0" fmla="*/ 103 w 1869"/>
                <a:gd name="T1" fmla="*/ 259 h 5449"/>
                <a:gd name="T2" fmla="*/ 411 w 1869"/>
                <a:gd name="T3" fmla="*/ 263 h 5449"/>
                <a:gd name="T4" fmla="*/ 628 w 1869"/>
                <a:gd name="T5" fmla="*/ 357 h 5449"/>
                <a:gd name="T6" fmla="*/ 1469 w 1869"/>
                <a:gd name="T7" fmla="*/ 272 h 5449"/>
                <a:gd name="T8" fmla="*/ 1815 w 1869"/>
                <a:gd name="T9" fmla="*/ 260 h 5449"/>
                <a:gd name="T10" fmla="*/ 1864 w 1869"/>
                <a:gd name="T11" fmla="*/ 318 h 5449"/>
                <a:gd name="T12" fmla="*/ 1828 w 1869"/>
                <a:gd name="T13" fmla="*/ 5343 h 5449"/>
                <a:gd name="T14" fmla="*/ 1128 w 1869"/>
                <a:gd name="T15" fmla="*/ 5394 h 5449"/>
                <a:gd name="T16" fmla="*/ 979 w 1869"/>
                <a:gd name="T17" fmla="*/ 5269 h 5449"/>
                <a:gd name="T18" fmla="*/ 978 w 1869"/>
                <a:gd name="T19" fmla="*/ 3430 h 5449"/>
                <a:gd name="T20" fmla="*/ 930 w 1869"/>
                <a:gd name="T21" fmla="*/ 3429 h 5449"/>
                <a:gd name="T22" fmla="*/ 816 w 1869"/>
                <a:gd name="T23" fmla="*/ 5392 h 5449"/>
                <a:gd name="T24" fmla="*/ 178 w 1869"/>
                <a:gd name="T25" fmla="*/ 5394 h 5449"/>
                <a:gd name="T26" fmla="*/ 54 w 1869"/>
                <a:gd name="T27" fmla="*/ 5270 h 5449"/>
                <a:gd name="T28" fmla="*/ 103 w 1869"/>
                <a:gd name="T29" fmla="*/ 259 h 5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69" h="5449">
                  <a:moveTo>
                    <a:pt x="103" y="259"/>
                  </a:moveTo>
                  <a:cubicBezTo>
                    <a:pt x="206" y="262"/>
                    <a:pt x="309" y="255"/>
                    <a:pt x="411" y="263"/>
                  </a:cubicBezTo>
                  <a:cubicBezTo>
                    <a:pt x="482" y="296"/>
                    <a:pt x="552" y="335"/>
                    <a:pt x="628" y="357"/>
                  </a:cubicBezTo>
                  <a:cubicBezTo>
                    <a:pt x="904" y="445"/>
                    <a:pt x="1216" y="414"/>
                    <a:pt x="1469" y="272"/>
                  </a:cubicBezTo>
                  <a:cubicBezTo>
                    <a:pt x="1499" y="253"/>
                    <a:pt x="1802" y="260"/>
                    <a:pt x="1815" y="260"/>
                  </a:cubicBezTo>
                  <a:cubicBezTo>
                    <a:pt x="1845" y="259"/>
                    <a:pt x="1869" y="288"/>
                    <a:pt x="1864" y="318"/>
                  </a:cubicBezTo>
                  <a:cubicBezTo>
                    <a:pt x="1864" y="331"/>
                    <a:pt x="1869" y="5289"/>
                    <a:pt x="1828" y="5343"/>
                  </a:cubicBezTo>
                  <a:cubicBezTo>
                    <a:pt x="1779" y="5410"/>
                    <a:pt x="1740" y="5393"/>
                    <a:pt x="1128" y="5394"/>
                  </a:cubicBezTo>
                  <a:cubicBezTo>
                    <a:pt x="961" y="5396"/>
                    <a:pt x="981" y="5292"/>
                    <a:pt x="979" y="5269"/>
                  </a:cubicBezTo>
                  <a:cubicBezTo>
                    <a:pt x="978" y="4656"/>
                    <a:pt x="980" y="4043"/>
                    <a:pt x="978" y="3430"/>
                  </a:cubicBezTo>
                  <a:cubicBezTo>
                    <a:pt x="962" y="3429"/>
                    <a:pt x="946" y="3429"/>
                    <a:pt x="930" y="3429"/>
                  </a:cubicBezTo>
                  <a:cubicBezTo>
                    <a:pt x="922" y="5449"/>
                    <a:pt x="973" y="5345"/>
                    <a:pt x="816" y="5392"/>
                  </a:cubicBezTo>
                  <a:cubicBezTo>
                    <a:pt x="604" y="5395"/>
                    <a:pt x="391" y="5393"/>
                    <a:pt x="178" y="5394"/>
                  </a:cubicBezTo>
                  <a:cubicBezTo>
                    <a:pt x="112" y="5398"/>
                    <a:pt x="50" y="5335"/>
                    <a:pt x="54" y="5270"/>
                  </a:cubicBezTo>
                  <a:cubicBezTo>
                    <a:pt x="56" y="0"/>
                    <a:pt x="0" y="250"/>
                    <a:pt x="103" y="25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Freeform 204">
              <a:extLst>
                <a:ext uri="{FF2B5EF4-FFF2-40B4-BE49-F238E27FC236}">
                  <a16:creationId xmlns:a16="http://schemas.microsoft.com/office/drawing/2014/main" id="{6136731F-E85F-441F-BF93-80E8E702C331}"/>
                </a:ext>
              </a:extLst>
            </p:cNvPr>
            <p:cNvSpPr>
              <a:spLocks/>
            </p:cNvSpPr>
            <p:nvPr/>
          </p:nvSpPr>
          <p:spPr bwMode="auto">
            <a:xfrm>
              <a:off x="4201" y="3660"/>
              <a:ext cx="46" cy="297"/>
            </a:xfrm>
            <a:custGeom>
              <a:avLst/>
              <a:gdLst>
                <a:gd name="T0" fmla="*/ 33 w 352"/>
                <a:gd name="T1" fmla="*/ 75 h 2257"/>
                <a:gd name="T2" fmla="*/ 328 w 352"/>
                <a:gd name="T3" fmla="*/ 410 h 2257"/>
                <a:gd name="T4" fmla="*/ 257 w 352"/>
                <a:gd name="T5" fmla="*/ 2088 h 2257"/>
                <a:gd name="T6" fmla="*/ 52 w 352"/>
                <a:gd name="T7" fmla="*/ 2244 h 2257"/>
                <a:gd name="T8" fmla="*/ 10 w 352"/>
                <a:gd name="T9" fmla="*/ 2184 h 2257"/>
                <a:gd name="T10" fmla="*/ 33 w 352"/>
                <a:gd name="T11" fmla="*/ 75 h 2257"/>
              </a:gdLst>
              <a:ahLst/>
              <a:cxnLst>
                <a:cxn ang="0">
                  <a:pos x="T0" y="T1"/>
                </a:cxn>
                <a:cxn ang="0">
                  <a:pos x="T2" y="T3"/>
                </a:cxn>
                <a:cxn ang="0">
                  <a:pos x="T4" y="T5"/>
                </a:cxn>
                <a:cxn ang="0">
                  <a:pos x="T6" y="T7"/>
                </a:cxn>
                <a:cxn ang="0">
                  <a:pos x="T8" y="T9"/>
                </a:cxn>
                <a:cxn ang="0">
                  <a:pos x="T10" y="T11"/>
                </a:cxn>
              </a:cxnLst>
              <a:rect l="0" t="0" r="r" b="b"/>
              <a:pathLst>
                <a:path w="352" h="2257">
                  <a:moveTo>
                    <a:pt x="33" y="75"/>
                  </a:moveTo>
                  <a:cubicBezTo>
                    <a:pt x="197" y="117"/>
                    <a:pt x="328" y="285"/>
                    <a:pt x="328" y="410"/>
                  </a:cubicBezTo>
                  <a:cubicBezTo>
                    <a:pt x="328" y="2082"/>
                    <a:pt x="352" y="1964"/>
                    <a:pt x="257" y="2088"/>
                  </a:cubicBezTo>
                  <a:cubicBezTo>
                    <a:pt x="207" y="2160"/>
                    <a:pt x="133" y="2211"/>
                    <a:pt x="52" y="2244"/>
                  </a:cubicBezTo>
                  <a:cubicBezTo>
                    <a:pt x="16" y="2257"/>
                    <a:pt x="14" y="2207"/>
                    <a:pt x="10" y="2184"/>
                  </a:cubicBezTo>
                  <a:cubicBezTo>
                    <a:pt x="4" y="0"/>
                    <a:pt x="0" y="105"/>
                    <a:pt x="33" y="7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205">
              <a:extLst>
                <a:ext uri="{FF2B5EF4-FFF2-40B4-BE49-F238E27FC236}">
                  <a16:creationId xmlns:a16="http://schemas.microsoft.com/office/drawing/2014/main" id="{B2B23727-D3D3-4230-9417-C55B6EDE287F}"/>
                </a:ext>
              </a:extLst>
            </p:cNvPr>
            <p:cNvSpPr>
              <a:spLocks/>
            </p:cNvSpPr>
            <p:nvPr/>
          </p:nvSpPr>
          <p:spPr bwMode="auto">
            <a:xfrm>
              <a:off x="4399" y="3645"/>
              <a:ext cx="246" cy="710"/>
            </a:xfrm>
            <a:custGeom>
              <a:avLst/>
              <a:gdLst>
                <a:gd name="T0" fmla="*/ 86 w 1871"/>
                <a:gd name="T1" fmla="*/ 188 h 5385"/>
                <a:gd name="T2" fmla="*/ 394 w 1871"/>
                <a:gd name="T3" fmla="*/ 192 h 5385"/>
                <a:gd name="T4" fmla="*/ 611 w 1871"/>
                <a:gd name="T5" fmla="*/ 286 h 5385"/>
                <a:gd name="T6" fmla="*/ 1452 w 1871"/>
                <a:gd name="T7" fmla="*/ 201 h 5385"/>
                <a:gd name="T8" fmla="*/ 1537 w 1871"/>
                <a:gd name="T9" fmla="*/ 188 h 5385"/>
                <a:gd name="T10" fmla="*/ 1847 w 1871"/>
                <a:gd name="T11" fmla="*/ 247 h 5385"/>
                <a:gd name="T12" fmla="*/ 1837 w 1871"/>
                <a:gd name="T13" fmla="*/ 3135 h 5385"/>
                <a:gd name="T14" fmla="*/ 1753 w 1871"/>
                <a:gd name="T15" fmla="*/ 5313 h 5385"/>
                <a:gd name="T16" fmla="*/ 1086 w 1871"/>
                <a:gd name="T17" fmla="*/ 5322 h 5385"/>
                <a:gd name="T18" fmla="*/ 961 w 1871"/>
                <a:gd name="T19" fmla="*/ 3358 h 5385"/>
                <a:gd name="T20" fmla="*/ 913 w 1871"/>
                <a:gd name="T21" fmla="*/ 3359 h 5385"/>
                <a:gd name="T22" fmla="*/ 799 w 1871"/>
                <a:gd name="T23" fmla="*/ 5321 h 5385"/>
                <a:gd name="T24" fmla="*/ 161 w 1871"/>
                <a:gd name="T25" fmla="*/ 5323 h 5385"/>
                <a:gd name="T26" fmla="*/ 37 w 1871"/>
                <a:gd name="T27" fmla="*/ 5199 h 5385"/>
                <a:gd name="T28" fmla="*/ 26 w 1871"/>
                <a:gd name="T29" fmla="*/ 2960 h 5385"/>
                <a:gd name="T30" fmla="*/ 86 w 1871"/>
                <a:gd name="T31" fmla="*/ 188 h 5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1" h="5385">
                  <a:moveTo>
                    <a:pt x="86" y="188"/>
                  </a:moveTo>
                  <a:cubicBezTo>
                    <a:pt x="189" y="191"/>
                    <a:pt x="292" y="184"/>
                    <a:pt x="394" y="192"/>
                  </a:cubicBezTo>
                  <a:cubicBezTo>
                    <a:pt x="465" y="225"/>
                    <a:pt x="535" y="264"/>
                    <a:pt x="611" y="286"/>
                  </a:cubicBezTo>
                  <a:cubicBezTo>
                    <a:pt x="887" y="374"/>
                    <a:pt x="1199" y="343"/>
                    <a:pt x="1452" y="201"/>
                  </a:cubicBezTo>
                  <a:cubicBezTo>
                    <a:pt x="1477" y="185"/>
                    <a:pt x="1508" y="189"/>
                    <a:pt x="1537" y="188"/>
                  </a:cubicBezTo>
                  <a:cubicBezTo>
                    <a:pt x="1773" y="192"/>
                    <a:pt x="1860" y="169"/>
                    <a:pt x="1847" y="247"/>
                  </a:cubicBezTo>
                  <a:cubicBezTo>
                    <a:pt x="1848" y="3183"/>
                    <a:pt x="1850" y="3021"/>
                    <a:pt x="1837" y="3135"/>
                  </a:cubicBezTo>
                  <a:cubicBezTo>
                    <a:pt x="1834" y="5322"/>
                    <a:pt x="1871" y="5278"/>
                    <a:pt x="1753" y="5313"/>
                  </a:cubicBezTo>
                  <a:cubicBezTo>
                    <a:pt x="1700" y="5329"/>
                    <a:pt x="1098" y="5322"/>
                    <a:pt x="1086" y="5322"/>
                  </a:cubicBezTo>
                  <a:cubicBezTo>
                    <a:pt x="914" y="5323"/>
                    <a:pt x="968" y="5345"/>
                    <a:pt x="961" y="3358"/>
                  </a:cubicBezTo>
                  <a:cubicBezTo>
                    <a:pt x="945" y="3358"/>
                    <a:pt x="929" y="3358"/>
                    <a:pt x="913" y="3359"/>
                  </a:cubicBezTo>
                  <a:cubicBezTo>
                    <a:pt x="906" y="5385"/>
                    <a:pt x="957" y="5278"/>
                    <a:pt x="799" y="5321"/>
                  </a:cubicBezTo>
                  <a:cubicBezTo>
                    <a:pt x="587" y="5324"/>
                    <a:pt x="374" y="5322"/>
                    <a:pt x="161" y="5323"/>
                  </a:cubicBezTo>
                  <a:cubicBezTo>
                    <a:pt x="95" y="5327"/>
                    <a:pt x="33" y="5264"/>
                    <a:pt x="37" y="5199"/>
                  </a:cubicBezTo>
                  <a:cubicBezTo>
                    <a:pt x="38" y="2839"/>
                    <a:pt x="26" y="2960"/>
                    <a:pt x="26" y="2960"/>
                  </a:cubicBezTo>
                  <a:cubicBezTo>
                    <a:pt x="29" y="0"/>
                    <a:pt x="0" y="180"/>
                    <a:pt x="86" y="18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Freeform 206">
              <a:extLst>
                <a:ext uri="{FF2B5EF4-FFF2-40B4-BE49-F238E27FC236}">
                  <a16:creationId xmlns:a16="http://schemas.microsoft.com/office/drawing/2014/main" id="{A6B5EBD7-97A4-4FF5-9627-790DF63E99EA}"/>
                </a:ext>
              </a:extLst>
            </p:cNvPr>
            <p:cNvSpPr>
              <a:spLocks/>
            </p:cNvSpPr>
            <p:nvPr/>
          </p:nvSpPr>
          <p:spPr bwMode="auto">
            <a:xfrm>
              <a:off x="4645" y="3661"/>
              <a:ext cx="43" cy="296"/>
            </a:xfrm>
            <a:custGeom>
              <a:avLst/>
              <a:gdLst>
                <a:gd name="T0" fmla="*/ 34 w 330"/>
                <a:gd name="T1" fmla="*/ 66 h 2246"/>
                <a:gd name="T2" fmla="*/ 328 w 330"/>
                <a:gd name="T3" fmla="*/ 365 h 2246"/>
                <a:gd name="T4" fmla="*/ 328 w 330"/>
                <a:gd name="T5" fmla="*/ 1937 h 2246"/>
                <a:gd name="T6" fmla="*/ 53 w 330"/>
                <a:gd name="T7" fmla="*/ 2234 h 2246"/>
                <a:gd name="T8" fmla="*/ 10 w 330"/>
                <a:gd name="T9" fmla="*/ 2163 h 2246"/>
                <a:gd name="T10" fmla="*/ 34 w 330"/>
                <a:gd name="T11" fmla="*/ 66 h 2246"/>
              </a:gdLst>
              <a:ahLst/>
              <a:cxnLst>
                <a:cxn ang="0">
                  <a:pos x="T0" y="T1"/>
                </a:cxn>
                <a:cxn ang="0">
                  <a:pos x="T2" y="T3"/>
                </a:cxn>
                <a:cxn ang="0">
                  <a:pos x="T4" y="T5"/>
                </a:cxn>
                <a:cxn ang="0">
                  <a:pos x="T6" y="T7"/>
                </a:cxn>
                <a:cxn ang="0">
                  <a:pos x="T8" y="T9"/>
                </a:cxn>
                <a:cxn ang="0">
                  <a:pos x="T10" y="T11"/>
                </a:cxn>
              </a:cxnLst>
              <a:rect l="0" t="0" r="r" b="b"/>
              <a:pathLst>
                <a:path w="330" h="2246">
                  <a:moveTo>
                    <a:pt x="34" y="66"/>
                  </a:moveTo>
                  <a:cubicBezTo>
                    <a:pt x="175" y="102"/>
                    <a:pt x="292" y="224"/>
                    <a:pt x="328" y="365"/>
                  </a:cubicBezTo>
                  <a:cubicBezTo>
                    <a:pt x="330" y="889"/>
                    <a:pt x="330" y="1413"/>
                    <a:pt x="328" y="1937"/>
                  </a:cubicBezTo>
                  <a:cubicBezTo>
                    <a:pt x="294" y="2073"/>
                    <a:pt x="182" y="2184"/>
                    <a:pt x="53" y="2234"/>
                  </a:cubicBezTo>
                  <a:cubicBezTo>
                    <a:pt x="13" y="2246"/>
                    <a:pt x="13" y="2188"/>
                    <a:pt x="10" y="2163"/>
                  </a:cubicBezTo>
                  <a:cubicBezTo>
                    <a:pt x="10" y="0"/>
                    <a:pt x="0" y="88"/>
                    <a:pt x="34" y="6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207">
              <a:extLst>
                <a:ext uri="{FF2B5EF4-FFF2-40B4-BE49-F238E27FC236}">
                  <a16:creationId xmlns:a16="http://schemas.microsoft.com/office/drawing/2014/main" id="{D0889DA4-AC41-41DE-A5E3-3BBD8EB4B638}"/>
                </a:ext>
              </a:extLst>
            </p:cNvPr>
            <p:cNvSpPr>
              <a:spLocks/>
            </p:cNvSpPr>
            <p:nvPr/>
          </p:nvSpPr>
          <p:spPr bwMode="auto">
            <a:xfrm>
              <a:off x="4794" y="3668"/>
              <a:ext cx="52" cy="302"/>
            </a:xfrm>
            <a:custGeom>
              <a:avLst/>
              <a:gdLst>
                <a:gd name="T0" fmla="*/ 352 w 400"/>
                <a:gd name="T1" fmla="*/ 14 h 2290"/>
                <a:gd name="T2" fmla="*/ 394 w 400"/>
                <a:gd name="T3" fmla="*/ 75 h 2290"/>
                <a:gd name="T4" fmla="*/ 379 w 400"/>
                <a:gd name="T5" fmla="*/ 2178 h 2290"/>
                <a:gd name="T6" fmla="*/ 77 w 400"/>
                <a:gd name="T7" fmla="*/ 1884 h 2290"/>
                <a:gd name="T8" fmla="*/ 352 w 400"/>
                <a:gd name="T9" fmla="*/ 14 h 2290"/>
              </a:gdLst>
              <a:ahLst/>
              <a:cxnLst>
                <a:cxn ang="0">
                  <a:pos x="T0" y="T1"/>
                </a:cxn>
                <a:cxn ang="0">
                  <a:pos x="T2" y="T3"/>
                </a:cxn>
                <a:cxn ang="0">
                  <a:pos x="T4" y="T5"/>
                </a:cxn>
                <a:cxn ang="0">
                  <a:pos x="T6" y="T7"/>
                </a:cxn>
                <a:cxn ang="0">
                  <a:pos x="T8" y="T9"/>
                </a:cxn>
              </a:cxnLst>
              <a:rect l="0" t="0" r="r" b="b"/>
              <a:pathLst>
                <a:path w="400" h="2290">
                  <a:moveTo>
                    <a:pt x="352" y="14"/>
                  </a:moveTo>
                  <a:cubicBezTo>
                    <a:pt x="388" y="0"/>
                    <a:pt x="390" y="51"/>
                    <a:pt x="394" y="75"/>
                  </a:cubicBezTo>
                  <a:cubicBezTo>
                    <a:pt x="400" y="2290"/>
                    <a:pt x="398" y="2138"/>
                    <a:pt x="379" y="2178"/>
                  </a:cubicBezTo>
                  <a:cubicBezTo>
                    <a:pt x="348" y="2200"/>
                    <a:pt x="127" y="2088"/>
                    <a:pt x="77" y="1884"/>
                  </a:cubicBezTo>
                  <a:cubicBezTo>
                    <a:pt x="66" y="314"/>
                    <a:pt x="0" y="165"/>
                    <a:pt x="352" y="1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208">
              <a:extLst>
                <a:ext uri="{FF2B5EF4-FFF2-40B4-BE49-F238E27FC236}">
                  <a16:creationId xmlns:a16="http://schemas.microsoft.com/office/drawing/2014/main" id="{58546DA0-601D-478A-A4A2-3E7E50D41CF0}"/>
                </a:ext>
              </a:extLst>
            </p:cNvPr>
            <p:cNvSpPr>
              <a:spLocks/>
            </p:cNvSpPr>
            <p:nvPr/>
          </p:nvSpPr>
          <p:spPr bwMode="auto">
            <a:xfrm>
              <a:off x="3504" y="3617"/>
              <a:ext cx="248" cy="776"/>
            </a:xfrm>
            <a:custGeom>
              <a:avLst/>
              <a:gdLst>
                <a:gd name="T0" fmla="*/ 125 w 1886"/>
                <a:gd name="T1" fmla="*/ 417 h 5893"/>
                <a:gd name="T2" fmla="*/ 420 w 1886"/>
                <a:gd name="T3" fmla="*/ 421 h 5893"/>
                <a:gd name="T4" fmla="*/ 637 w 1886"/>
                <a:gd name="T5" fmla="*/ 514 h 5893"/>
                <a:gd name="T6" fmla="*/ 1478 w 1886"/>
                <a:gd name="T7" fmla="*/ 429 h 5893"/>
                <a:gd name="T8" fmla="*/ 1563 w 1886"/>
                <a:gd name="T9" fmla="*/ 417 h 5893"/>
                <a:gd name="T10" fmla="*/ 1873 w 1886"/>
                <a:gd name="T11" fmla="*/ 475 h 5893"/>
                <a:gd name="T12" fmla="*/ 1862 w 1886"/>
                <a:gd name="T13" fmla="*/ 5427 h 5893"/>
                <a:gd name="T14" fmla="*/ 1739 w 1886"/>
                <a:gd name="T15" fmla="*/ 5549 h 5893"/>
                <a:gd name="T16" fmla="*/ 1007 w 1886"/>
                <a:gd name="T17" fmla="*/ 5508 h 5893"/>
                <a:gd name="T18" fmla="*/ 987 w 1886"/>
                <a:gd name="T19" fmla="*/ 3587 h 5893"/>
                <a:gd name="T20" fmla="*/ 939 w 1886"/>
                <a:gd name="T21" fmla="*/ 3587 h 5893"/>
                <a:gd name="T22" fmla="*/ 825 w 1886"/>
                <a:gd name="T23" fmla="*/ 5550 h 5893"/>
                <a:gd name="T24" fmla="*/ 187 w 1886"/>
                <a:gd name="T25" fmla="*/ 5551 h 5893"/>
                <a:gd name="T26" fmla="*/ 63 w 1886"/>
                <a:gd name="T27" fmla="*/ 5427 h 5893"/>
                <a:gd name="T28" fmla="*/ 125 w 1886"/>
                <a:gd name="T29" fmla="*/ 417 h 5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86" h="5893">
                  <a:moveTo>
                    <a:pt x="125" y="417"/>
                  </a:moveTo>
                  <a:cubicBezTo>
                    <a:pt x="223" y="420"/>
                    <a:pt x="322" y="412"/>
                    <a:pt x="420" y="421"/>
                  </a:cubicBezTo>
                  <a:cubicBezTo>
                    <a:pt x="491" y="454"/>
                    <a:pt x="561" y="492"/>
                    <a:pt x="637" y="514"/>
                  </a:cubicBezTo>
                  <a:cubicBezTo>
                    <a:pt x="913" y="603"/>
                    <a:pt x="1225" y="572"/>
                    <a:pt x="1478" y="429"/>
                  </a:cubicBezTo>
                  <a:cubicBezTo>
                    <a:pt x="1503" y="413"/>
                    <a:pt x="1534" y="417"/>
                    <a:pt x="1563" y="417"/>
                  </a:cubicBezTo>
                  <a:cubicBezTo>
                    <a:pt x="1799" y="421"/>
                    <a:pt x="1886" y="398"/>
                    <a:pt x="1873" y="475"/>
                  </a:cubicBezTo>
                  <a:cubicBezTo>
                    <a:pt x="1872" y="5893"/>
                    <a:pt x="1869" y="898"/>
                    <a:pt x="1862" y="5427"/>
                  </a:cubicBezTo>
                  <a:cubicBezTo>
                    <a:pt x="1862" y="5493"/>
                    <a:pt x="1805" y="5549"/>
                    <a:pt x="1739" y="5549"/>
                  </a:cubicBezTo>
                  <a:cubicBezTo>
                    <a:pt x="1066" y="5564"/>
                    <a:pt x="1047" y="5553"/>
                    <a:pt x="1007" y="5508"/>
                  </a:cubicBezTo>
                  <a:cubicBezTo>
                    <a:pt x="974" y="5480"/>
                    <a:pt x="993" y="5554"/>
                    <a:pt x="987" y="3587"/>
                  </a:cubicBezTo>
                  <a:cubicBezTo>
                    <a:pt x="971" y="3587"/>
                    <a:pt x="955" y="3587"/>
                    <a:pt x="939" y="3587"/>
                  </a:cubicBezTo>
                  <a:cubicBezTo>
                    <a:pt x="931" y="5607"/>
                    <a:pt x="982" y="5503"/>
                    <a:pt x="825" y="5550"/>
                  </a:cubicBezTo>
                  <a:cubicBezTo>
                    <a:pt x="613" y="5553"/>
                    <a:pt x="400" y="5550"/>
                    <a:pt x="187" y="5551"/>
                  </a:cubicBezTo>
                  <a:cubicBezTo>
                    <a:pt x="121" y="5555"/>
                    <a:pt x="59" y="5493"/>
                    <a:pt x="63" y="5427"/>
                  </a:cubicBezTo>
                  <a:cubicBezTo>
                    <a:pt x="65" y="0"/>
                    <a:pt x="0" y="426"/>
                    <a:pt x="125" y="4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Freeform 209">
              <a:extLst>
                <a:ext uri="{FF2B5EF4-FFF2-40B4-BE49-F238E27FC236}">
                  <a16:creationId xmlns:a16="http://schemas.microsoft.com/office/drawing/2014/main" id="{D583CFB0-9E5A-4719-A160-74A77B94647C}"/>
                </a:ext>
              </a:extLst>
            </p:cNvPr>
            <p:cNvSpPr>
              <a:spLocks/>
            </p:cNvSpPr>
            <p:nvPr/>
          </p:nvSpPr>
          <p:spPr bwMode="auto">
            <a:xfrm>
              <a:off x="3753" y="3664"/>
              <a:ext cx="46" cy="295"/>
            </a:xfrm>
            <a:custGeom>
              <a:avLst/>
              <a:gdLst>
                <a:gd name="T0" fmla="*/ 34 w 346"/>
                <a:gd name="T1" fmla="*/ 57 h 2238"/>
                <a:gd name="T2" fmla="*/ 328 w 346"/>
                <a:gd name="T3" fmla="*/ 356 h 2238"/>
                <a:gd name="T4" fmla="*/ 258 w 346"/>
                <a:gd name="T5" fmla="*/ 2069 h 2238"/>
                <a:gd name="T6" fmla="*/ 53 w 346"/>
                <a:gd name="T7" fmla="*/ 2225 h 2238"/>
                <a:gd name="T8" fmla="*/ 10 w 346"/>
                <a:gd name="T9" fmla="*/ 2154 h 2238"/>
                <a:gd name="T10" fmla="*/ 34 w 346"/>
                <a:gd name="T11" fmla="*/ 57 h 2238"/>
              </a:gdLst>
              <a:ahLst/>
              <a:cxnLst>
                <a:cxn ang="0">
                  <a:pos x="T0" y="T1"/>
                </a:cxn>
                <a:cxn ang="0">
                  <a:pos x="T2" y="T3"/>
                </a:cxn>
                <a:cxn ang="0">
                  <a:pos x="T4" y="T5"/>
                </a:cxn>
                <a:cxn ang="0">
                  <a:pos x="T6" y="T7"/>
                </a:cxn>
                <a:cxn ang="0">
                  <a:pos x="T8" y="T9"/>
                </a:cxn>
                <a:cxn ang="0">
                  <a:pos x="T10" y="T11"/>
                </a:cxn>
              </a:cxnLst>
              <a:rect l="0" t="0" r="r" b="b"/>
              <a:pathLst>
                <a:path w="346" h="2238">
                  <a:moveTo>
                    <a:pt x="34" y="57"/>
                  </a:moveTo>
                  <a:cubicBezTo>
                    <a:pt x="175" y="93"/>
                    <a:pt x="292" y="216"/>
                    <a:pt x="328" y="356"/>
                  </a:cubicBezTo>
                  <a:cubicBezTo>
                    <a:pt x="339" y="2057"/>
                    <a:pt x="346" y="1957"/>
                    <a:pt x="258" y="2069"/>
                  </a:cubicBezTo>
                  <a:cubicBezTo>
                    <a:pt x="208" y="2141"/>
                    <a:pt x="134" y="2193"/>
                    <a:pt x="53" y="2225"/>
                  </a:cubicBezTo>
                  <a:cubicBezTo>
                    <a:pt x="13" y="2238"/>
                    <a:pt x="13" y="2180"/>
                    <a:pt x="10" y="2154"/>
                  </a:cubicBezTo>
                  <a:cubicBezTo>
                    <a:pt x="10" y="0"/>
                    <a:pt x="0" y="79"/>
                    <a:pt x="34" y="5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210">
              <a:extLst>
                <a:ext uri="{FF2B5EF4-FFF2-40B4-BE49-F238E27FC236}">
                  <a16:creationId xmlns:a16="http://schemas.microsoft.com/office/drawing/2014/main" id="{825F6F6B-71A8-4CDC-8934-A6C7190FC92D}"/>
                </a:ext>
              </a:extLst>
            </p:cNvPr>
            <p:cNvSpPr>
              <a:spLocks/>
            </p:cNvSpPr>
            <p:nvPr/>
          </p:nvSpPr>
          <p:spPr bwMode="auto">
            <a:xfrm>
              <a:off x="3911" y="3672"/>
              <a:ext cx="45" cy="286"/>
            </a:xfrm>
            <a:custGeom>
              <a:avLst/>
              <a:gdLst>
                <a:gd name="T0" fmla="*/ 314 w 341"/>
                <a:gd name="T1" fmla="*/ 0 h 2172"/>
                <a:gd name="T2" fmla="*/ 313 w 341"/>
                <a:gd name="T3" fmla="*/ 2172 h 2172"/>
                <a:gd name="T4" fmla="*/ 10 w 341"/>
                <a:gd name="T5" fmla="*/ 1837 h 2172"/>
                <a:gd name="T6" fmla="*/ 9 w 341"/>
                <a:gd name="T7" fmla="*/ 348 h 2172"/>
                <a:gd name="T8" fmla="*/ 314 w 341"/>
                <a:gd name="T9" fmla="*/ 0 h 2172"/>
              </a:gdLst>
              <a:ahLst/>
              <a:cxnLst>
                <a:cxn ang="0">
                  <a:pos x="T0" y="T1"/>
                </a:cxn>
                <a:cxn ang="0">
                  <a:pos x="T2" y="T3"/>
                </a:cxn>
                <a:cxn ang="0">
                  <a:pos x="T4" y="T5"/>
                </a:cxn>
                <a:cxn ang="0">
                  <a:pos x="T6" y="T7"/>
                </a:cxn>
                <a:cxn ang="0">
                  <a:pos x="T8" y="T9"/>
                </a:cxn>
              </a:cxnLst>
              <a:rect l="0" t="0" r="r" b="b"/>
              <a:pathLst>
                <a:path w="341" h="2172">
                  <a:moveTo>
                    <a:pt x="314" y="0"/>
                  </a:moveTo>
                  <a:cubicBezTo>
                    <a:pt x="341" y="76"/>
                    <a:pt x="335" y="2113"/>
                    <a:pt x="313" y="2172"/>
                  </a:cubicBezTo>
                  <a:cubicBezTo>
                    <a:pt x="171" y="2151"/>
                    <a:pt x="6" y="1969"/>
                    <a:pt x="10" y="1837"/>
                  </a:cubicBezTo>
                  <a:cubicBezTo>
                    <a:pt x="10" y="1341"/>
                    <a:pt x="10" y="844"/>
                    <a:pt x="9" y="348"/>
                  </a:cubicBezTo>
                  <a:cubicBezTo>
                    <a:pt x="0" y="198"/>
                    <a:pt x="178" y="18"/>
                    <a:pt x="3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211">
              <a:extLst>
                <a:ext uri="{FF2B5EF4-FFF2-40B4-BE49-F238E27FC236}">
                  <a16:creationId xmlns:a16="http://schemas.microsoft.com/office/drawing/2014/main" id="{EC9CA659-6F79-4FAD-80CF-3BA9C2A88580}"/>
                </a:ext>
              </a:extLst>
            </p:cNvPr>
            <p:cNvSpPr>
              <a:spLocks/>
            </p:cNvSpPr>
            <p:nvPr/>
          </p:nvSpPr>
          <p:spPr bwMode="auto">
            <a:xfrm>
              <a:off x="4354" y="3670"/>
              <a:ext cx="47" cy="294"/>
            </a:xfrm>
            <a:custGeom>
              <a:avLst/>
              <a:gdLst>
                <a:gd name="T0" fmla="*/ 292 w 353"/>
                <a:gd name="T1" fmla="*/ 13 h 2227"/>
                <a:gd name="T2" fmla="*/ 335 w 353"/>
                <a:gd name="T3" fmla="*/ 84 h 2227"/>
                <a:gd name="T4" fmla="*/ 292 w 353"/>
                <a:gd name="T5" fmla="*/ 2179 h 2227"/>
                <a:gd name="T6" fmla="*/ 17 w 353"/>
                <a:gd name="T7" fmla="*/ 1882 h 2227"/>
                <a:gd name="T8" fmla="*/ 91 w 353"/>
                <a:gd name="T9" fmla="*/ 161 h 2227"/>
                <a:gd name="T10" fmla="*/ 292 w 353"/>
                <a:gd name="T11" fmla="*/ 13 h 2227"/>
              </a:gdLst>
              <a:ahLst/>
              <a:cxnLst>
                <a:cxn ang="0">
                  <a:pos x="T0" y="T1"/>
                </a:cxn>
                <a:cxn ang="0">
                  <a:pos x="T2" y="T3"/>
                </a:cxn>
                <a:cxn ang="0">
                  <a:pos x="T4" y="T5"/>
                </a:cxn>
                <a:cxn ang="0">
                  <a:pos x="T6" y="T7"/>
                </a:cxn>
                <a:cxn ang="0">
                  <a:pos x="T8" y="T9"/>
                </a:cxn>
                <a:cxn ang="0">
                  <a:pos x="T10" y="T11"/>
                </a:cxn>
              </a:cxnLst>
              <a:rect l="0" t="0" r="r" b="b"/>
              <a:pathLst>
                <a:path w="353" h="2227">
                  <a:moveTo>
                    <a:pt x="292" y="13"/>
                  </a:moveTo>
                  <a:cubicBezTo>
                    <a:pt x="332" y="0"/>
                    <a:pt x="331" y="59"/>
                    <a:pt x="335" y="84"/>
                  </a:cubicBezTo>
                  <a:cubicBezTo>
                    <a:pt x="335" y="2227"/>
                    <a:pt x="353" y="2199"/>
                    <a:pt x="292" y="2179"/>
                  </a:cubicBezTo>
                  <a:cubicBezTo>
                    <a:pt x="162" y="2129"/>
                    <a:pt x="51" y="2019"/>
                    <a:pt x="17" y="1882"/>
                  </a:cubicBezTo>
                  <a:cubicBezTo>
                    <a:pt x="5" y="157"/>
                    <a:pt x="0" y="283"/>
                    <a:pt x="91" y="161"/>
                  </a:cubicBezTo>
                  <a:cubicBezTo>
                    <a:pt x="139" y="90"/>
                    <a:pt x="215" y="46"/>
                    <a:pt x="292" y="1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212">
              <a:extLst>
                <a:ext uri="{FF2B5EF4-FFF2-40B4-BE49-F238E27FC236}">
                  <a16:creationId xmlns:a16="http://schemas.microsoft.com/office/drawing/2014/main" id="{0E1F103A-C846-46B3-B1D3-9AA458AF6AD1}"/>
                </a:ext>
              </a:extLst>
            </p:cNvPr>
            <p:cNvSpPr>
              <a:spLocks/>
            </p:cNvSpPr>
            <p:nvPr/>
          </p:nvSpPr>
          <p:spPr bwMode="auto">
            <a:xfrm>
              <a:off x="3049" y="3671"/>
              <a:ext cx="246" cy="683"/>
            </a:xfrm>
            <a:custGeom>
              <a:avLst/>
              <a:gdLst>
                <a:gd name="T0" fmla="*/ 339 w 1873"/>
                <a:gd name="T1" fmla="*/ 18 h 5182"/>
                <a:gd name="T2" fmla="*/ 1257 w 1873"/>
                <a:gd name="T3" fmla="*/ 106 h 5182"/>
                <a:gd name="T4" fmla="*/ 1453 w 1873"/>
                <a:gd name="T5" fmla="*/ 19 h 5182"/>
                <a:gd name="T6" fmla="*/ 1763 w 1873"/>
                <a:gd name="T7" fmla="*/ 18 h 5182"/>
                <a:gd name="T8" fmla="*/ 1824 w 1873"/>
                <a:gd name="T9" fmla="*/ 76 h 5182"/>
                <a:gd name="T10" fmla="*/ 1813 w 1873"/>
                <a:gd name="T11" fmla="*/ 3202 h 5182"/>
                <a:gd name="T12" fmla="*/ 1651 w 1873"/>
                <a:gd name="T13" fmla="*/ 5152 h 5182"/>
                <a:gd name="T14" fmla="*/ 939 w 1873"/>
                <a:gd name="T15" fmla="*/ 5053 h 5182"/>
                <a:gd name="T16" fmla="*/ 938 w 1873"/>
                <a:gd name="T17" fmla="*/ 3188 h 5182"/>
                <a:gd name="T18" fmla="*/ 889 w 1873"/>
                <a:gd name="T19" fmla="*/ 3187 h 5182"/>
                <a:gd name="T20" fmla="*/ 869 w 1873"/>
                <a:gd name="T21" fmla="*/ 5095 h 5182"/>
                <a:gd name="T22" fmla="*/ 137 w 1873"/>
                <a:gd name="T23" fmla="*/ 5152 h 5182"/>
                <a:gd name="T24" fmla="*/ 13 w 1873"/>
                <a:gd name="T25" fmla="*/ 5028 h 5182"/>
                <a:gd name="T26" fmla="*/ 3 w 1873"/>
                <a:gd name="T27" fmla="*/ 64 h 5182"/>
                <a:gd name="T28" fmla="*/ 339 w 1873"/>
                <a:gd name="T29" fmla="*/ 18 h 5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3" h="5182">
                  <a:moveTo>
                    <a:pt x="339" y="18"/>
                  </a:moveTo>
                  <a:cubicBezTo>
                    <a:pt x="411" y="11"/>
                    <a:pt x="746" y="284"/>
                    <a:pt x="1257" y="106"/>
                  </a:cubicBezTo>
                  <a:cubicBezTo>
                    <a:pt x="1326" y="85"/>
                    <a:pt x="1388" y="49"/>
                    <a:pt x="1453" y="19"/>
                  </a:cubicBezTo>
                  <a:cubicBezTo>
                    <a:pt x="1556" y="15"/>
                    <a:pt x="1660" y="19"/>
                    <a:pt x="1763" y="18"/>
                  </a:cubicBezTo>
                  <a:cubicBezTo>
                    <a:pt x="1796" y="13"/>
                    <a:pt x="1830" y="41"/>
                    <a:pt x="1824" y="76"/>
                  </a:cubicBezTo>
                  <a:cubicBezTo>
                    <a:pt x="1822" y="4579"/>
                    <a:pt x="1828" y="1473"/>
                    <a:pt x="1813" y="3202"/>
                  </a:cubicBezTo>
                  <a:cubicBezTo>
                    <a:pt x="1813" y="5145"/>
                    <a:pt x="1873" y="5155"/>
                    <a:pt x="1651" y="5152"/>
                  </a:cubicBezTo>
                  <a:cubicBezTo>
                    <a:pt x="1109" y="5149"/>
                    <a:pt x="927" y="5182"/>
                    <a:pt x="939" y="5053"/>
                  </a:cubicBezTo>
                  <a:cubicBezTo>
                    <a:pt x="937" y="4431"/>
                    <a:pt x="940" y="3809"/>
                    <a:pt x="938" y="3188"/>
                  </a:cubicBezTo>
                  <a:cubicBezTo>
                    <a:pt x="921" y="3187"/>
                    <a:pt x="905" y="3187"/>
                    <a:pt x="889" y="3187"/>
                  </a:cubicBezTo>
                  <a:cubicBezTo>
                    <a:pt x="883" y="5161"/>
                    <a:pt x="902" y="5068"/>
                    <a:pt x="869" y="5095"/>
                  </a:cubicBezTo>
                  <a:cubicBezTo>
                    <a:pt x="790" y="5169"/>
                    <a:pt x="834" y="5151"/>
                    <a:pt x="137" y="5152"/>
                  </a:cubicBezTo>
                  <a:cubicBezTo>
                    <a:pt x="72" y="5156"/>
                    <a:pt x="9" y="5093"/>
                    <a:pt x="13" y="5028"/>
                  </a:cubicBezTo>
                  <a:cubicBezTo>
                    <a:pt x="14" y="2423"/>
                    <a:pt x="3" y="3614"/>
                    <a:pt x="3" y="64"/>
                  </a:cubicBezTo>
                  <a:cubicBezTo>
                    <a:pt x="0" y="0"/>
                    <a:pt x="18" y="21"/>
                    <a:pt x="339" y="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213">
              <a:extLst>
                <a:ext uri="{FF2B5EF4-FFF2-40B4-BE49-F238E27FC236}">
                  <a16:creationId xmlns:a16="http://schemas.microsoft.com/office/drawing/2014/main" id="{95483C5E-8DCF-4139-9600-9F39256D594E}"/>
                </a:ext>
              </a:extLst>
            </p:cNvPr>
            <p:cNvSpPr>
              <a:spLocks/>
            </p:cNvSpPr>
            <p:nvPr/>
          </p:nvSpPr>
          <p:spPr bwMode="auto">
            <a:xfrm>
              <a:off x="3292" y="3665"/>
              <a:ext cx="44" cy="296"/>
            </a:xfrm>
            <a:custGeom>
              <a:avLst/>
              <a:gdLst>
                <a:gd name="T0" fmla="*/ 34 w 338"/>
                <a:gd name="T1" fmla="*/ 65 h 2246"/>
                <a:gd name="T2" fmla="*/ 329 w 338"/>
                <a:gd name="T3" fmla="*/ 413 h 2246"/>
                <a:gd name="T4" fmla="*/ 327 w 338"/>
                <a:gd name="T5" fmla="*/ 1937 h 2246"/>
                <a:gd name="T6" fmla="*/ 52 w 338"/>
                <a:gd name="T7" fmla="*/ 2234 h 2246"/>
                <a:gd name="T8" fmla="*/ 10 w 338"/>
                <a:gd name="T9" fmla="*/ 2163 h 2246"/>
                <a:gd name="T10" fmla="*/ 34 w 338"/>
                <a:gd name="T11" fmla="*/ 65 h 2246"/>
              </a:gdLst>
              <a:ahLst/>
              <a:cxnLst>
                <a:cxn ang="0">
                  <a:pos x="T0" y="T1"/>
                </a:cxn>
                <a:cxn ang="0">
                  <a:pos x="T2" y="T3"/>
                </a:cxn>
                <a:cxn ang="0">
                  <a:pos x="T4" y="T5"/>
                </a:cxn>
                <a:cxn ang="0">
                  <a:pos x="T6" y="T7"/>
                </a:cxn>
                <a:cxn ang="0">
                  <a:pos x="T8" y="T9"/>
                </a:cxn>
                <a:cxn ang="0">
                  <a:pos x="T10" y="T11"/>
                </a:cxn>
              </a:cxnLst>
              <a:rect l="0" t="0" r="r" b="b"/>
              <a:pathLst>
                <a:path w="338" h="2246">
                  <a:moveTo>
                    <a:pt x="34" y="65"/>
                  </a:moveTo>
                  <a:cubicBezTo>
                    <a:pt x="179" y="98"/>
                    <a:pt x="338" y="272"/>
                    <a:pt x="329" y="413"/>
                  </a:cubicBezTo>
                  <a:cubicBezTo>
                    <a:pt x="327" y="921"/>
                    <a:pt x="331" y="1429"/>
                    <a:pt x="327" y="1937"/>
                  </a:cubicBezTo>
                  <a:cubicBezTo>
                    <a:pt x="293" y="2073"/>
                    <a:pt x="182" y="2184"/>
                    <a:pt x="52" y="2234"/>
                  </a:cubicBezTo>
                  <a:cubicBezTo>
                    <a:pt x="12" y="2246"/>
                    <a:pt x="13" y="2188"/>
                    <a:pt x="10" y="2163"/>
                  </a:cubicBezTo>
                  <a:cubicBezTo>
                    <a:pt x="9" y="0"/>
                    <a:pt x="0" y="91"/>
                    <a:pt x="34" y="6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214">
              <a:extLst>
                <a:ext uri="{FF2B5EF4-FFF2-40B4-BE49-F238E27FC236}">
                  <a16:creationId xmlns:a16="http://schemas.microsoft.com/office/drawing/2014/main" id="{B030C3E0-ACC4-471C-9EAC-3AEF2B45FC5A}"/>
                </a:ext>
              </a:extLst>
            </p:cNvPr>
            <p:cNvSpPr>
              <a:spLocks/>
            </p:cNvSpPr>
            <p:nvPr/>
          </p:nvSpPr>
          <p:spPr bwMode="auto">
            <a:xfrm>
              <a:off x="3455" y="3672"/>
              <a:ext cx="55" cy="293"/>
            </a:xfrm>
            <a:custGeom>
              <a:avLst/>
              <a:gdLst>
                <a:gd name="T0" fmla="*/ 352 w 413"/>
                <a:gd name="T1" fmla="*/ 13 h 2223"/>
                <a:gd name="T2" fmla="*/ 395 w 413"/>
                <a:gd name="T3" fmla="*/ 85 h 2223"/>
                <a:gd name="T4" fmla="*/ 352 w 413"/>
                <a:gd name="T5" fmla="*/ 2180 h 2223"/>
                <a:gd name="T6" fmla="*/ 77 w 413"/>
                <a:gd name="T7" fmla="*/ 1883 h 2223"/>
                <a:gd name="T8" fmla="*/ 352 w 413"/>
                <a:gd name="T9" fmla="*/ 13 h 2223"/>
              </a:gdLst>
              <a:ahLst/>
              <a:cxnLst>
                <a:cxn ang="0">
                  <a:pos x="T0" y="T1"/>
                </a:cxn>
                <a:cxn ang="0">
                  <a:pos x="T2" y="T3"/>
                </a:cxn>
                <a:cxn ang="0">
                  <a:pos x="T4" y="T5"/>
                </a:cxn>
                <a:cxn ang="0">
                  <a:pos x="T6" y="T7"/>
                </a:cxn>
                <a:cxn ang="0">
                  <a:pos x="T8" y="T9"/>
                </a:cxn>
              </a:cxnLst>
              <a:rect l="0" t="0" r="r" b="b"/>
              <a:pathLst>
                <a:path w="413" h="2223">
                  <a:moveTo>
                    <a:pt x="352" y="13"/>
                  </a:moveTo>
                  <a:cubicBezTo>
                    <a:pt x="392" y="0"/>
                    <a:pt x="391" y="59"/>
                    <a:pt x="395" y="85"/>
                  </a:cubicBezTo>
                  <a:cubicBezTo>
                    <a:pt x="395" y="2223"/>
                    <a:pt x="413" y="2199"/>
                    <a:pt x="352" y="2180"/>
                  </a:cubicBezTo>
                  <a:cubicBezTo>
                    <a:pt x="222" y="2130"/>
                    <a:pt x="111" y="2019"/>
                    <a:pt x="77" y="1883"/>
                  </a:cubicBezTo>
                  <a:cubicBezTo>
                    <a:pt x="66" y="314"/>
                    <a:pt x="0" y="164"/>
                    <a:pt x="352" y="1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215">
              <a:extLst>
                <a:ext uri="{FF2B5EF4-FFF2-40B4-BE49-F238E27FC236}">
                  <a16:creationId xmlns:a16="http://schemas.microsoft.com/office/drawing/2014/main" id="{4E26ABDC-F306-445E-8ED1-574D69A9B014}"/>
                </a:ext>
              </a:extLst>
            </p:cNvPr>
            <p:cNvSpPr>
              <a:spLocks/>
            </p:cNvSpPr>
            <p:nvPr/>
          </p:nvSpPr>
          <p:spPr bwMode="auto">
            <a:xfrm>
              <a:off x="2599" y="3649"/>
              <a:ext cx="244" cy="744"/>
            </a:xfrm>
            <a:custGeom>
              <a:avLst/>
              <a:gdLst>
                <a:gd name="T0" fmla="*/ 83 w 1857"/>
                <a:gd name="T1" fmla="*/ 197 h 5649"/>
                <a:gd name="T2" fmla="*/ 391 w 1857"/>
                <a:gd name="T3" fmla="*/ 201 h 5649"/>
                <a:gd name="T4" fmla="*/ 607 w 1857"/>
                <a:gd name="T5" fmla="*/ 294 h 5649"/>
                <a:gd name="T6" fmla="*/ 1448 w 1857"/>
                <a:gd name="T7" fmla="*/ 209 h 5649"/>
                <a:gd name="T8" fmla="*/ 1533 w 1857"/>
                <a:gd name="T9" fmla="*/ 197 h 5649"/>
                <a:gd name="T10" fmla="*/ 1844 w 1857"/>
                <a:gd name="T11" fmla="*/ 255 h 5649"/>
                <a:gd name="T12" fmla="*/ 1774 w 1857"/>
                <a:gd name="T13" fmla="*/ 5310 h 5649"/>
                <a:gd name="T14" fmla="*/ 1082 w 1857"/>
                <a:gd name="T15" fmla="*/ 5330 h 5649"/>
                <a:gd name="T16" fmla="*/ 958 w 1857"/>
                <a:gd name="T17" fmla="*/ 3367 h 5649"/>
                <a:gd name="T18" fmla="*/ 909 w 1857"/>
                <a:gd name="T19" fmla="*/ 3367 h 5649"/>
                <a:gd name="T20" fmla="*/ 796 w 1857"/>
                <a:gd name="T21" fmla="*/ 5330 h 5649"/>
                <a:gd name="T22" fmla="*/ 157 w 1857"/>
                <a:gd name="T23" fmla="*/ 5331 h 5649"/>
                <a:gd name="T24" fmla="*/ 33 w 1857"/>
                <a:gd name="T25" fmla="*/ 5207 h 5649"/>
                <a:gd name="T26" fmla="*/ 24 w 1857"/>
                <a:gd name="T27" fmla="*/ 3019 h 5649"/>
                <a:gd name="T28" fmla="*/ 83 w 1857"/>
                <a:gd name="T29" fmla="*/ 197 h 5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57" h="5649">
                  <a:moveTo>
                    <a:pt x="83" y="197"/>
                  </a:moveTo>
                  <a:cubicBezTo>
                    <a:pt x="185" y="200"/>
                    <a:pt x="289" y="192"/>
                    <a:pt x="391" y="201"/>
                  </a:cubicBezTo>
                  <a:cubicBezTo>
                    <a:pt x="462" y="234"/>
                    <a:pt x="531" y="272"/>
                    <a:pt x="607" y="294"/>
                  </a:cubicBezTo>
                  <a:cubicBezTo>
                    <a:pt x="883" y="383"/>
                    <a:pt x="1195" y="352"/>
                    <a:pt x="1448" y="209"/>
                  </a:cubicBezTo>
                  <a:cubicBezTo>
                    <a:pt x="1474" y="193"/>
                    <a:pt x="1504" y="197"/>
                    <a:pt x="1533" y="197"/>
                  </a:cubicBezTo>
                  <a:cubicBezTo>
                    <a:pt x="1769" y="201"/>
                    <a:pt x="1857" y="178"/>
                    <a:pt x="1844" y="255"/>
                  </a:cubicBezTo>
                  <a:cubicBezTo>
                    <a:pt x="1844" y="5649"/>
                    <a:pt x="1848" y="5268"/>
                    <a:pt x="1774" y="5310"/>
                  </a:cubicBezTo>
                  <a:cubicBezTo>
                    <a:pt x="1738" y="5332"/>
                    <a:pt x="1748" y="5338"/>
                    <a:pt x="1082" y="5330"/>
                  </a:cubicBezTo>
                  <a:cubicBezTo>
                    <a:pt x="911" y="5331"/>
                    <a:pt x="965" y="5354"/>
                    <a:pt x="958" y="3367"/>
                  </a:cubicBezTo>
                  <a:cubicBezTo>
                    <a:pt x="941" y="3367"/>
                    <a:pt x="925" y="3367"/>
                    <a:pt x="909" y="3367"/>
                  </a:cubicBezTo>
                  <a:cubicBezTo>
                    <a:pt x="902" y="5387"/>
                    <a:pt x="953" y="5283"/>
                    <a:pt x="796" y="5330"/>
                  </a:cubicBezTo>
                  <a:cubicBezTo>
                    <a:pt x="583" y="5333"/>
                    <a:pt x="370" y="5330"/>
                    <a:pt x="157" y="5331"/>
                  </a:cubicBezTo>
                  <a:cubicBezTo>
                    <a:pt x="92" y="5335"/>
                    <a:pt x="29" y="5273"/>
                    <a:pt x="33" y="5207"/>
                  </a:cubicBezTo>
                  <a:cubicBezTo>
                    <a:pt x="34" y="2982"/>
                    <a:pt x="35" y="3117"/>
                    <a:pt x="24" y="3019"/>
                  </a:cubicBezTo>
                  <a:cubicBezTo>
                    <a:pt x="21" y="0"/>
                    <a:pt x="0" y="189"/>
                    <a:pt x="83" y="19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216">
              <a:extLst>
                <a:ext uri="{FF2B5EF4-FFF2-40B4-BE49-F238E27FC236}">
                  <a16:creationId xmlns:a16="http://schemas.microsoft.com/office/drawing/2014/main" id="{343DC102-2F78-4F15-8114-095816677996}"/>
                </a:ext>
              </a:extLst>
            </p:cNvPr>
            <p:cNvSpPr>
              <a:spLocks/>
            </p:cNvSpPr>
            <p:nvPr/>
          </p:nvSpPr>
          <p:spPr bwMode="auto">
            <a:xfrm>
              <a:off x="2844" y="3667"/>
              <a:ext cx="44" cy="296"/>
            </a:xfrm>
            <a:custGeom>
              <a:avLst/>
              <a:gdLst>
                <a:gd name="T0" fmla="*/ 36 w 335"/>
                <a:gd name="T1" fmla="*/ 57 h 2242"/>
                <a:gd name="T2" fmla="*/ 331 w 335"/>
                <a:gd name="T3" fmla="*/ 393 h 2242"/>
                <a:gd name="T4" fmla="*/ 322 w 335"/>
                <a:gd name="T5" fmla="*/ 1957 h 2242"/>
                <a:gd name="T6" fmla="*/ 27 w 335"/>
                <a:gd name="T7" fmla="*/ 2224 h 2242"/>
                <a:gd name="T8" fmla="*/ 11 w 335"/>
                <a:gd name="T9" fmla="*/ 2143 h 2242"/>
                <a:gd name="T10" fmla="*/ 36 w 335"/>
                <a:gd name="T11" fmla="*/ 57 h 2242"/>
              </a:gdLst>
              <a:ahLst/>
              <a:cxnLst>
                <a:cxn ang="0">
                  <a:pos x="T0" y="T1"/>
                </a:cxn>
                <a:cxn ang="0">
                  <a:pos x="T2" y="T3"/>
                </a:cxn>
                <a:cxn ang="0">
                  <a:pos x="T4" y="T5"/>
                </a:cxn>
                <a:cxn ang="0">
                  <a:pos x="T6" y="T7"/>
                </a:cxn>
                <a:cxn ang="0">
                  <a:pos x="T8" y="T9"/>
                </a:cxn>
                <a:cxn ang="0">
                  <a:pos x="T10" y="T11"/>
                </a:cxn>
              </a:cxnLst>
              <a:rect l="0" t="0" r="r" b="b"/>
              <a:pathLst>
                <a:path w="335" h="2242">
                  <a:moveTo>
                    <a:pt x="36" y="57"/>
                  </a:moveTo>
                  <a:cubicBezTo>
                    <a:pt x="200" y="100"/>
                    <a:pt x="328" y="263"/>
                    <a:pt x="331" y="393"/>
                  </a:cubicBezTo>
                  <a:cubicBezTo>
                    <a:pt x="330" y="2019"/>
                    <a:pt x="335" y="1928"/>
                    <a:pt x="322" y="1957"/>
                  </a:cubicBezTo>
                  <a:cubicBezTo>
                    <a:pt x="253" y="2150"/>
                    <a:pt x="57" y="2242"/>
                    <a:pt x="27" y="2224"/>
                  </a:cubicBezTo>
                  <a:cubicBezTo>
                    <a:pt x="16" y="2199"/>
                    <a:pt x="11" y="2171"/>
                    <a:pt x="11" y="2143"/>
                  </a:cubicBezTo>
                  <a:cubicBezTo>
                    <a:pt x="13" y="0"/>
                    <a:pt x="0" y="85"/>
                    <a:pt x="36" y="5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217">
              <a:extLst>
                <a:ext uri="{FF2B5EF4-FFF2-40B4-BE49-F238E27FC236}">
                  <a16:creationId xmlns:a16="http://schemas.microsoft.com/office/drawing/2014/main" id="{3985DF6E-6568-46C1-9512-F6674D17D7D1}"/>
                </a:ext>
              </a:extLst>
            </p:cNvPr>
            <p:cNvSpPr>
              <a:spLocks/>
            </p:cNvSpPr>
            <p:nvPr/>
          </p:nvSpPr>
          <p:spPr bwMode="auto">
            <a:xfrm>
              <a:off x="3002" y="3675"/>
              <a:ext cx="45" cy="286"/>
            </a:xfrm>
            <a:custGeom>
              <a:avLst/>
              <a:gdLst>
                <a:gd name="T0" fmla="*/ 313 w 339"/>
                <a:gd name="T1" fmla="*/ 0 h 2173"/>
                <a:gd name="T2" fmla="*/ 313 w 339"/>
                <a:gd name="T3" fmla="*/ 2173 h 2173"/>
                <a:gd name="T4" fmla="*/ 11 w 339"/>
                <a:gd name="T5" fmla="*/ 1872 h 2173"/>
                <a:gd name="T6" fmla="*/ 9 w 339"/>
                <a:gd name="T7" fmla="*/ 348 h 2173"/>
                <a:gd name="T8" fmla="*/ 313 w 339"/>
                <a:gd name="T9" fmla="*/ 0 h 2173"/>
              </a:gdLst>
              <a:ahLst/>
              <a:cxnLst>
                <a:cxn ang="0">
                  <a:pos x="T0" y="T1"/>
                </a:cxn>
                <a:cxn ang="0">
                  <a:pos x="T2" y="T3"/>
                </a:cxn>
                <a:cxn ang="0">
                  <a:pos x="T4" y="T5"/>
                </a:cxn>
                <a:cxn ang="0">
                  <a:pos x="T6" y="T7"/>
                </a:cxn>
                <a:cxn ang="0">
                  <a:pos x="T8" y="T9"/>
                </a:cxn>
              </a:cxnLst>
              <a:rect l="0" t="0" r="r" b="b"/>
              <a:pathLst>
                <a:path w="339" h="2173">
                  <a:moveTo>
                    <a:pt x="313" y="0"/>
                  </a:moveTo>
                  <a:cubicBezTo>
                    <a:pt x="335" y="61"/>
                    <a:pt x="339" y="2100"/>
                    <a:pt x="313" y="2173"/>
                  </a:cubicBezTo>
                  <a:cubicBezTo>
                    <a:pt x="168" y="2141"/>
                    <a:pt x="48" y="2014"/>
                    <a:pt x="11" y="1872"/>
                  </a:cubicBezTo>
                  <a:cubicBezTo>
                    <a:pt x="7" y="1364"/>
                    <a:pt x="10" y="856"/>
                    <a:pt x="9" y="348"/>
                  </a:cubicBezTo>
                  <a:cubicBezTo>
                    <a:pt x="0" y="196"/>
                    <a:pt x="179" y="18"/>
                    <a:pt x="31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218">
              <a:extLst>
                <a:ext uri="{FF2B5EF4-FFF2-40B4-BE49-F238E27FC236}">
                  <a16:creationId xmlns:a16="http://schemas.microsoft.com/office/drawing/2014/main" id="{700C7B3D-2A5C-47E8-88CC-8C779E50E15C}"/>
                </a:ext>
              </a:extLst>
            </p:cNvPr>
            <p:cNvSpPr>
              <a:spLocks/>
            </p:cNvSpPr>
            <p:nvPr/>
          </p:nvSpPr>
          <p:spPr bwMode="auto">
            <a:xfrm>
              <a:off x="2553" y="3675"/>
              <a:ext cx="46" cy="299"/>
            </a:xfrm>
            <a:custGeom>
              <a:avLst/>
              <a:gdLst>
                <a:gd name="T0" fmla="*/ 300 w 348"/>
                <a:gd name="T1" fmla="*/ 14 h 2268"/>
                <a:gd name="T2" fmla="*/ 342 w 348"/>
                <a:gd name="T3" fmla="*/ 75 h 2268"/>
                <a:gd name="T4" fmla="*/ 327 w 348"/>
                <a:gd name="T5" fmla="*/ 2178 h 2268"/>
                <a:gd name="T6" fmla="*/ 24 w 348"/>
                <a:gd name="T7" fmla="*/ 1861 h 2268"/>
                <a:gd name="T8" fmla="*/ 100 w 348"/>
                <a:gd name="T9" fmla="*/ 163 h 2268"/>
                <a:gd name="T10" fmla="*/ 300 w 348"/>
                <a:gd name="T11" fmla="*/ 14 h 2268"/>
              </a:gdLst>
              <a:ahLst/>
              <a:cxnLst>
                <a:cxn ang="0">
                  <a:pos x="T0" y="T1"/>
                </a:cxn>
                <a:cxn ang="0">
                  <a:pos x="T2" y="T3"/>
                </a:cxn>
                <a:cxn ang="0">
                  <a:pos x="T4" y="T5"/>
                </a:cxn>
                <a:cxn ang="0">
                  <a:pos x="T6" y="T7"/>
                </a:cxn>
                <a:cxn ang="0">
                  <a:pos x="T8" y="T9"/>
                </a:cxn>
                <a:cxn ang="0">
                  <a:pos x="T10" y="T11"/>
                </a:cxn>
              </a:cxnLst>
              <a:rect l="0" t="0" r="r" b="b"/>
              <a:pathLst>
                <a:path w="348" h="2268">
                  <a:moveTo>
                    <a:pt x="300" y="14"/>
                  </a:moveTo>
                  <a:cubicBezTo>
                    <a:pt x="337" y="0"/>
                    <a:pt x="338" y="51"/>
                    <a:pt x="342" y="75"/>
                  </a:cubicBezTo>
                  <a:cubicBezTo>
                    <a:pt x="348" y="2268"/>
                    <a:pt x="346" y="2136"/>
                    <a:pt x="327" y="2178"/>
                  </a:cubicBezTo>
                  <a:cubicBezTo>
                    <a:pt x="272" y="2209"/>
                    <a:pt x="17" y="2010"/>
                    <a:pt x="24" y="1861"/>
                  </a:cubicBezTo>
                  <a:cubicBezTo>
                    <a:pt x="23" y="162"/>
                    <a:pt x="0" y="297"/>
                    <a:pt x="100" y="163"/>
                  </a:cubicBezTo>
                  <a:cubicBezTo>
                    <a:pt x="148" y="92"/>
                    <a:pt x="224" y="47"/>
                    <a:pt x="300" y="1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5" name="Speech Bubble: Oval 64">
            <a:extLst>
              <a:ext uri="{FF2B5EF4-FFF2-40B4-BE49-F238E27FC236}">
                <a16:creationId xmlns:a16="http://schemas.microsoft.com/office/drawing/2014/main" id="{364CE938-EB68-438A-8ADE-092349049AD0}"/>
              </a:ext>
            </a:extLst>
          </p:cNvPr>
          <p:cNvSpPr/>
          <p:nvPr/>
        </p:nvSpPr>
        <p:spPr>
          <a:xfrm>
            <a:off x="345475" y="1397542"/>
            <a:ext cx="2624359" cy="1408607"/>
          </a:xfrm>
          <a:prstGeom prst="wedgeEllipseCallout">
            <a:avLst>
              <a:gd name="adj1" fmla="val 115327"/>
              <a:gd name="adj2" fmla="val 97151"/>
            </a:avLst>
          </a:prstGeom>
          <a:solidFill>
            <a:schemeClr val="accent5">
              <a:lumMod val="25000"/>
            </a:schemeClr>
          </a:soli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1</a:t>
            </a:r>
            <a:r>
              <a:rPr lang="mn-MN" b="1" dirty="0"/>
              <a:t>.</a:t>
            </a:r>
            <a:r>
              <a:rPr lang="en-GB" b="1" dirty="0"/>
              <a:t>  </a:t>
            </a:r>
            <a:r>
              <a:rPr lang="mn-MN" b="1" dirty="0"/>
              <a:t>Хүнсий хаягдлын талаар</a:t>
            </a:r>
            <a:endParaRPr lang="en-GB" b="1" dirty="0"/>
          </a:p>
        </p:txBody>
      </p:sp>
      <p:sp>
        <p:nvSpPr>
          <p:cNvPr id="66" name="Speech Bubble: Oval 65">
            <a:extLst>
              <a:ext uri="{FF2B5EF4-FFF2-40B4-BE49-F238E27FC236}">
                <a16:creationId xmlns:a16="http://schemas.microsoft.com/office/drawing/2014/main" id="{A47347F8-13E9-41CD-9CC0-9AB6B0AB5C1D}"/>
              </a:ext>
            </a:extLst>
          </p:cNvPr>
          <p:cNvSpPr/>
          <p:nvPr/>
        </p:nvSpPr>
        <p:spPr>
          <a:xfrm>
            <a:off x="416763" y="2959060"/>
            <a:ext cx="2624359" cy="1408607"/>
          </a:xfrm>
          <a:prstGeom prst="wedgeEllipseCallout">
            <a:avLst>
              <a:gd name="adj1" fmla="val 110665"/>
              <a:gd name="adj2" fmla="val 9252"/>
            </a:avLst>
          </a:prstGeom>
          <a:solidFill>
            <a:schemeClr val="accent5">
              <a:lumMod val="50000"/>
            </a:schemeClr>
          </a:soli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b="1" dirty="0"/>
              <a:t>Хүнсний хаягдлын асуудал яагаад чухал гэж?</a:t>
            </a:r>
            <a:endParaRPr lang="en-GB" b="1" dirty="0"/>
          </a:p>
        </p:txBody>
      </p:sp>
      <p:sp>
        <p:nvSpPr>
          <p:cNvPr id="67" name="Speech Bubble: Oval 66">
            <a:extLst>
              <a:ext uri="{FF2B5EF4-FFF2-40B4-BE49-F238E27FC236}">
                <a16:creationId xmlns:a16="http://schemas.microsoft.com/office/drawing/2014/main" id="{69CE95AD-8EA7-42AD-8543-0BCD92FB751C}"/>
              </a:ext>
            </a:extLst>
          </p:cNvPr>
          <p:cNvSpPr/>
          <p:nvPr/>
        </p:nvSpPr>
        <p:spPr>
          <a:xfrm>
            <a:off x="9231875" y="856889"/>
            <a:ext cx="2624359" cy="1590588"/>
          </a:xfrm>
          <a:prstGeom prst="wedgeEllipseCallout">
            <a:avLst>
              <a:gd name="adj1" fmla="val -94374"/>
              <a:gd name="adj2" fmla="val 88353"/>
            </a:avLst>
          </a:prstGeom>
          <a:solidFill>
            <a:schemeClr val="accent5">
              <a:lumMod val="25000"/>
            </a:schemeClr>
          </a:soli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b="1" dirty="0"/>
              <a:t>2. Хүнсний хаягдлын судалгаа</a:t>
            </a:r>
            <a:endParaRPr lang="en-GB" b="1" dirty="0"/>
          </a:p>
        </p:txBody>
      </p:sp>
      <p:sp>
        <p:nvSpPr>
          <p:cNvPr id="69" name="Speech Bubble: Oval 68">
            <a:extLst>
              <a:ext uri="{FF2B5EF4-FFF2-40B4-BE49-F238E27FC236}">
                <a16:creationId xmlns:a16="http://schemas.microsoft.com/office/drawing/2014/main" id="{FA589F10-9500-41DE-8246-FC4121F68A8F}"/>
              </a:ext>
            </a:extLst>
          </p:cNvPr>
          <p:cNvSpPr/>
          <p:nvPr/>
        </p:nvSpPr>
        <p:spPr>
          <a:xfrm>
            <a:off x="9248334" y="2657982"/>
            <a:ext cx="2624359" cy="1408607"/>
          </a:xfrm>
          <a:prstGeom prst="wedgeEllipseCallout">
            <a:avLst>
              <a:gd name="adj1" fmla="val -91290"/>
              <a:gd name="adj2" fmla="val 14844"/>
            </a:avLst>
          </a:prstGeom>
          <a:solidFill>
            <a:schemeClr val="accent5">
              <a:lumMod val="50000"/>
            </a:schemeClr>
          </a:soli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b="1" dirty="0"/>
              <a:t>Бүтцийн судалгаа</a:t>
            </a:r>
            <a:endParaRPr lang="en-GB" b="1" dirty="0"/>
          </a:p>
        </p:txBody>
      </p:sp>
      <p:sp>
        <p:nvSpPr>
          <p:cNvPr id="70" name="Speech Bubble: Oval 69">
            <a:extLst>
              <a:ext uri="{FF2B5EF4-FFF2-40B4-BE49-F238E27FC236}">
                <a16:creationId xmlns:a16="http://schemas.microsoft.com/office/drawing/2014/main" id="{749E93C1-B341-447F-BD34-881D960720AA}"/>
              </a:ext>
            </a:extLst>
          </p:cNvPr>
          <p:cNvSpPr/>
          <p:nvPr/>
        </p:nvSpPr>
        <p:spPr>
          <a:xfrm>
            <a:off x="3382561" y="1282238"/>
            <a:ext cx="2335481" cy="1250004"/>
          </a:xfrm>
          <a:prstGeom prst="wedgeEllipseCallout">
            <a:avLst>
              <a:gd name="adj1" fmla="val 21211"/>
              <a:gd name="adj2" fmla="val 100117"/>
            </a:avLst>
          </a:prstGeom>
          <a:solidFill>
            <a:schemeClr val="accent2">
              <a:lumMod val="75000"/>
            </a:schemeClr>
          </a:soli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b="1" dirty="0"/>
              <a:t>Асуулт, хариулт</a:t>
            </a:r>
            <a:endParaRPr lang="en-GB" b="1" dirty="0"/>
          </a:p>
        </p:txBody>
      </p:sp>
      <p:sp>
        <p:nvSpPr>
          <p:cNvPr id="72" name="Speech Bubble: Oval 71">
            <a:extLst>
              <a:ext uri="{FF2B5EF4-FFF2-40B4-BE49-F238E27FC236}">
                <a16:creationId xmlns:a16="http://schemas.microsoft.com/office/drawing/2014/main" id="{9A77B134-2324-4F0B-B646-5C9C66A713A9}"/>
              </a:ext>
            </a:extLst>
          </p:cNvPr>
          <p:cNvSpPr/>
          <p:nvPr/>
        </p:nvSpPr>
        <p:spPr>
          <a:xfrm>
            <a:off x="6050377" y="1033550"/>
            <a:ext cx="2624359" cy="1100166"/>
          </a:xfrm>
          <a:prstGeom prst="wedgeEllipseCallout">
            <a:avLst>
              <a:gd name="adj1" fmla="val -38570"/>
              <a:gd name="adj2" fmla="val 100209"/>
            </a:avLst>
          </a:prstGeom>
          <a:solidFill>
            <a:schemeClr val="accent2">
              <a:lumMod val="75000"/>
            </a:schemeClr>
          </a:soli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b="1" dirty="0"/>
              <a:t>2 цаг үргэлжилнэ</a:t>
            </a:r>
            <a:endParaRPr lang="en-GB" b="1" dirty="0"/>
          </a:p>
        </p:txBody>
      </p:sp>
      <p:sp>
        <p:nvSpPr>
          <p:cNvPr id="3" name="Speech Bubble: Oval 2">
            <a:extLst>
              <a:ext uri="{FF2B5EF4-FFF2-40B4-BE49-F238E27FC236}">
                <a16:creationId xmlns:a16="http://schemas.microsoft.com/office/drawing/2014/main" id="{B7963EB3-DE75-AA16-295F-363F587535C9}"/>
              </a:ext>
            </a:extLst>
          </p:cNvPr>
          <p:cNvSpPr/>
          <p:nvPr/>
        </p:nvSpPr>
        <p:spPr>
          <a:xfrm>
            <a:off x="9248334" y="4367667"/>
            <a:ext cx="2624359" cy="1408607"/>
          </a:xfrm>
          <a:prstGeom prst="wedgeEllipseCallout">
            <a:avLst>
              <a:gd name="adj1" fmla="val -88275"/>
              <a:gd name="adj2" fmla="val -76261"/>
            </a:avLst>
          </a:prstGeom>
          <a:solidFill>
            <a:schemeClr val="accent5">
              <a:lumMod val="50000"/>
            </a:schemeClr>
          </a:soli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b="1" dirty="0"/>
              <a:t>Хандлагын судалгаа</a:t>
            </a:r>
            <a:endParaRPr lang="en-GB" b="1" dirty="0"/>
          </a:p>
        </p:txBody>
      </p:sp>
      <p:sp>
        <p:nvSpPr>
          <p:cNvPr id="5" name="Speech Bubble: Oval 4">
            <a:extLst>
              <a:ext uri="{FF2B5EF4-FFF2-40B4-BE49-F238E27FC236}">
                <a16:creationId xmlns:a16="http://schemas.microsoft.com/office/drawing/2014/main" id="{B9526A13-4317-5E7B-CFF5-3F3A2EDB8F4E}"/>
              </a:ext>
            </a:extLst>
          </p:cNvPr>
          <p:cNvSpPr/>
          <p:nvPr/>
        </p:nvSpPr>
        <p:spPr>
          <a:xfrm>
            <a:off x="365724" y="4492156"/>
            <a:ext cx="2624359" cy="1408607"/>
          </a:xfrm>
          <a:prstGeom prst="wedgeEllipseCallout">
            <a:avLst>
              <a:gd name="adj1" fmla="val 106109"/>
              <a:gd name="adj2" fmla="val -84864"/>
            </a:avLst>
          </a:prstGeom>
          <a:solidFill>
            <a:schemeClr val="accent5">
              <a:lumMod val="50000"/>
            </a:schemeClr>
          </a:soli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b="1" dirty="0"/>
              <a:t>Хаягдлыг судлах, хэмжих нь</a:t>
            </a:r>
            <a:endParaRPr lang="en-GB" b="1" dirty="0"/>
          </a:p>
        </p:txBody>
      </p:sp>
    </p:spTree>
    <p:extLst>
      <p:ext uri="{BB962C8B-B14F-4D97-AF65-F5344CB8AC3E}">
        <p14:creationId xmlns:p14="http://schemas.microsoft.com/office/powerpoint/2010/main" val="1274196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1D4D7-A790-496C-9DE6-8F8863938311}"/>
              </a:ext>
            </a:extLst>
          </p:cNvPr>
          <p:cNvSpPr>
            <a:spLocks noGrp="1"/>
          </p:cNvSpPr>
          <p:nvPr>
            <p:ph type="title"/>
          </p:nvPr>
        </p:nvSpPr>
        <p:spPr>
          <a:xfrm>
            <a:off x="360000" y="360000"/>
            <a:ext cx="4825611" cy="710811"/>
          </a:xfrm>
        </p:spPr>
        <p:txBody>
          <a:bodyPr/>
          <a:lstStyle/>
          <a:p>
            <a:r>
              <a:rPr lang="mn-MN" dirty="0"/>
              <a:t>ХӨТӨЛБӨР</a:t>
            </a:r>
            <a:endParaRPr lang="en-GB" dirty="0"/>
          </a:p>
        </p:txBody>
      </p:sp>
      <p:sp>
        <p:nvSpPr>
          <p:cNvPr id="4" name="Slide Number Placeholder 3">
            <a:extLst>
              <a:ext uri="{FF2B5EF4-FFF2-40B4-BE49-F238E27FC236}">
                <a16:creationId xmlns:a16="http://schemas.microsoft.com/office/drawing/2014/main" id="{53C86A2B-2CC3-4AE1-A384-932E65DC5E78}"/>
              </a:ext>
            </a:extLst>
          </p:cNvPr>
          <p:cNvSpPr>
            <a:spLocks noGrp="1"/>
          </p:cNvSpPr>
          <p:nvPr>
            <p:ph type="sldNum" sz="quarter" idx="12"/>
          </p:nvPr>
        </p:nvSpPr>
        <p:spPr/>
        <p:txBody>
          <a:bodyPr/>
          <a:lstStyle/>
          <a:p>
            <a:fld id="{22BD14A0-459B-CA46-A763-3163F186A6C2}" type="slidenum">
              <a:rPr lang="en-US" smtClean="0"/>
              <a:t>7</a:t>
            </a:fld>
            <a:endParaRPr lang="en-US"/>
          </a:p>
        </p:txBody>
      </p:sp>
      <p:sp>
        <p:nvSpPr>
          <p:cNvPr id="5" name="TextBox 4">
            <a:extLst>
              <a:ext uri="{FF2B5EF4-FFF2-40B4-BE49-F238E27FC236}">
                <a16:creationId xmlns:a16="http://schemas.microsoft.com/office/drawing/2014/main" id="{A2BF70F1-60CD-CB66-9D36-DD35E56E4F66}"/>
              </a:ext>
            </a:extLst>
          </p:cNvPr>
          <p:cNvSpPr txBox="1"/>
          <p:nvPr/>
        </p:nvSpPr>
        <p:spPr>
          <a:xfrm>
            <a:off x="360000" y="1750147"/>
            <a:ext cx="3742297" cy="584775"/>
          </a:xfrm>
          <a:prstGeom prst="rect">
            <a:avLst/>
          </a:prstGeom>
          <a:noFill/>
        </p:spPr>
        <p:txBody>
          <a:bodyPr wrap="square" rtlCol="0">
            <a:spAutoFit/>
          </a:bodyPr>
          <a:lstStyle/>
          <a:p>
            <a:pPr algn="ctr"/>
            <a:r>
              <a:rPr lang="en-GB" sz="3200" dirty="0">
                <a:solidFill>
                  <a:schemeClr val="accent4">
                    <a:lumMod val="75000"/>
                  </a:schemeClr>
                </a:solidFill>
              </a:rPr>
              <a:t>14.00 – 15.00</a:t>
            </a:r>
          </a:p>
        </p:txBody>
      </p:sp>
      <p:pic>
        <p:nvPicPr>
          <p:cNvPr id="11" name="Graphic 10" descr="Coffee with solid fill">
            <a:extLst>
              <a:ext uri="{FF2B5EF4-FFF2-40B4-BE49-F238E27FC236}">
                <a16:creationId xmlns:a16="http://schemas.microsoft.com/office/drawing/2014/main" id="{0BA983F9-9485-DBF7-20DE-09D9358D40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96291" y="2660858"/>
            <a:ext cx="2199418" cy="2199418"/>
          </a:xfrm>
          <a:prstGeom prst="rect">
            <a:avLst/>
          </a:prstGeom>
        </p:spPr>
      </p:pic>
      <p:pic>
        <p:nvPicPr>
          <p:cNvPr id="13" name="Graphic 12" descr="Classroom with solid fill">
            <a:extLst>
              <a:ext uri="{FF2B5EF4-FFF2-40B4-BE49-F238E27FC236}">
                <a16:creationId xmlns:a16="http://schemas.microsoft.com/office/drawing/2014/main" id="{7F68BD96-34B1-ECE7-A229-EC18F4EE276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7182" y="2660858"/>
            <a:ext cx="2398709" cy="2398709"/>
          </a:xfrm>
          <a:prstGeom prst="rect">
            <a:avLst/>
          </a:prstGeom>
        </p:spPr>
      </p:pic>
      <p:sp>
        <p:nvSpPr>
          <p:cNvPr id="14" name="TextBox 13">
            <a:extLst>
              <a:ext uri="{FF2B5EF4-FFF2-40B4-BE49-F238E27FC236}">
                <a16:creationId xmlns:a16="http://schemas.microsoft.com/office/drawing/2014/main" id="{AE46ADE5-ADF3-D707-67DB-F8AC870ABA90}"/>
              </a:ext>
            </a:extLst>
          </p:cNvPr>
          <p:cNvSpPr txBox="1"/>
          <p:nvPr/>
        </p:nvSpPr>
        <p:spPr>
          <a:xfrm>
            <a:off x="3726874" y="1766839"/>
            <a:ext cx="4249737"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0A3AD">
                    <a:lumMod val="75000"/>
                  </a:srgbClr>
                </a:solidFill>
                <a:effectLst/>
                <a:uLnTx/>
                <a:uFillTx/>
                <a:latin typeface="Tahoma"/>
                <a:ea typeface="+mn-ea"/>
                <a:cs typeface="+mn-cs"/>
              </a:rPr>
              <a:t>15.00 – 15.15</a:t>
            </a:r>
          </a:p>
        </p:txBody>
      </p:sp>
      <p:sp>
        <p:nvSpPr>
          <p:cNvPr id="15" name="TextBox 14">
            <a:extLst>
              <a:ext uri="{FF2B5EF4-FFF2-40B4-BE49-F238E27FC236}">
                <a16:creationId xmlns:a16="http://schemas.microsoft.com/office/drawing/2014/main" id="{9F908CD7-0F01-B91E-DEE7-4CCA4EBD4D69}"/>
              </a:ext>
            </a:extLst>
          </p:cNvPr>
          <p:cNvSpPr txBox="1"/>
          <p:nvPr/>
        </p:nvSpPr>
        <p:spPr>
          <a:xfrm>
            <a:off x="8309660" y="1766839"/>
            <a:ext cx="3563033" cy="584775"/>
          </a:xfrm>
          <a:prstGeom prst="rect">
            <a:avLst/>
          </a:prstGeom>
          <a:noFill/>
        </p:spPr>
        <p:txBody>
          <a:bodyPr wrap="square" rtlCol="0">
            <a:spAutoFit/>
          </a:bodyPr>
          <a:lstStyle/>
          <a:p>
            <a:pPr algn="ctr"/>
            <a:r>
              <a:rPr lang="en-GB" sz="3200" dirty="0">
                <a:solidFill>
                  <a:schemeClr val="accent4">
                    <a:lumMod val="75000"/>
                  </a:schemeClr>
                </a:solidFill>
              </a:rPr>
              <a:t>15.15 – 16.00</a:t>
            </a:r>
          </a:p>
        </p:txBody>
      </p:sp>
      <p:pic>
        <p:nvPicPr>
          <p:cNvPr id="3" name="Graphic 2" descr="Classroom with solid fill">
            <a:extLst>
              <a:ext uri="{FF2B5EF4-FFF2-40B4-BE49-F238E27FC236}">
                <a16:creationId xmlns:a16="http://schemas.microsoft.com/office/drawing/2014/main" id="{DBB8DA1D-3100-6B9F-158C-A6D265669F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61953" y="2660857"/>
            <a:ext cx="2398709" cy="2398709"/>
          </a:xfrm>
          <a:prstGeom prst="rect">
            <a:avLst/>
          </a:prstGeom>
        </p:spPr>
      </p:pic>
    </p:spTree>
    <p:extLst>
      <p:ext uri="{BB962C8B-B14F-4D97-AF65-F5344CB8AC3E}">
        <p14:creationId xmlns:p14="http://schemas.microsoft.com/office/powerpoint/2010/main" val="1535196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843BDA-AAF3-4B8A-8BF3-F331B82F4338}"/>
              </a:ext>
            </a:extLst>
          </p:cNvPr>
          <p:cNvSpPr>
            <a:spLocks noGrp="1"/>
          </p:cNvSpPr>
          <p:nvPr>
            <p:ph type="title"/>
          </p:nvPr>
        </p:nvSpPr>
        <p:spPr>
          <a:xfrm>
            <a:off x="360000" y="360000"/>
            <a:ext cx="10800000" cy="1044257"/>
          </a:xfrm>
        </p:spPr>
        <p:txBody>
          <a:bodyPr/>
          <a:lstStyle/>
          <a:p>
            <a:r>
              <a:rPr lang="mn-MN" dirty="0"/>
              <a:t>ЗӨВЛӨХ БАГ</a:t>
            </a:r>
            <a:endParaRPr lang="en-GB" dirty="0"/>
          </a:p>
        </p:txBody>
      </p:sp>
      <p:sp>
        <p:nvSpPr>
          <p:cNvPr id="3" name="Slide Number Placeholder 2">
            <a:extLst>
              <a:ext uri="{FF2B5EF4-FFF2-40B4-BE49-F238E27FC236}">
                <a16:creationId xmlns:a16="http://schemas.microsoft.com/office/drawing/2014/main" id="{93F2136E-AAF2-4A49-AEBB-2B5DAF7472DF}"/>
              </a:ext>
            </a:extLst>
          </p:cNvPr>
          <p:cNvSpPr>
            <a:spLocks noGrp="1"/>
          </p:cNvSpPr>
          <p:nvPr>
            <p:ph type="sldNum" sz="quarter" idx="12"/>
          </p:nvPr>
        </p:nvSpPr>
        <p:spPr/>
        <p:txBody>
          <a:bodyPr/>
          <a:lstStyle/>
          <a:p>
            <a:fld id="{22BD14A0-459B-CA46-A763-3163F186A6C2}" type="slidenum">
              <a:rPr lang="en-US" smtClean="0"/>
              <a:t>8</a:t>
            </a:fld>
            <a:endParaRPr lang="en-US"/>
          </a:p>
        </p:txBody>
      </p:sp>
      <p:graphicFrame>
        <p:nvGraphicFramePr>
          <p:cNvPr id="5" name="Diagram 4">
            <a:extLst>
              <a:ext uri="{FF2B5EF4-FFF2-40B4-BE49-F238E27FC236}">
                <a16:creationId xmlns:a16="http://schemas.microsoft.com/office/drawing/2014/main" id="{EE7753FB-69AC-13B8-D49F-196358B2AC36}"/>
              </a:ext>
            </a:extLst>
          </p:cNvPr>
          <p:cNvGraphicFramePr/>
          <p:nvPr>
            <p:extLst>
              <p:ext uri="{D42A27DB-BD31-4B8C-83A1-F6EECF244321}">
                <p14:modId xmlns:p14="http://schemas.microsoft.com/office/powerpoint/2010/main" val="2357824510"/>
              </p:ext>
            </p:extLst>
          </p:nvPr>
        </p:nvGraphicFramePr>
        <p:xfrm>
          <a:off x="1681143" y="293804"/>
          <a:ext cx="10352335" cy="56735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91563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2A5C2F-E132-4E94-BA2A-F6229FD4384C}"/>
              </a:ext>
            </a:extLst>
          </p:cNvPr>
          <p:cNvSpPr>
            <a:spLocks noGrp="1"/>
          </p:cNvSpPr>
          <p:nvPr>
            <p:ph type="title"/>
          </p:nvPr>
        </p:nvSpPr>
        <p:spPr/>
        <p:txBody>
          <a:bodyPr/>
          <a:lstStyle/>
          <a:p>
            <a:r>
              <a:rPr lang="mn-MN" dirty="0"/>
              <a:t>АСУУЛТ</a:t>
            </a:r>
            <a:r>
              <a:rPr lang="en-GB" dirty="0"/>
              <a:t>?</a:t>
            </a:r>
          </a:p>
        </p:txBody>
      </p:sp>
      <p:sp>
        <p:nvSpPr>
          <p:cNvPr id="4" name="Slide Number Placeholder 3">
            <a:extLst>
              <a:ext uri="{FF2B5EF4-FFF2-40B4-BE49-F238E27FC236}">
                <a16:creationId xmlns:a16="http://schemas.microsoft.com/office/drawing/2014/main" id="{4A61A636-108B-4EE9-A91D-3D966C949933}"/>
              </a:ext>
            </a:extLst>
          </p:cNvPr>
          <p:cNvSpPr>
            <a:spLocks noGrp="1"/>
          </p:cNvSpPr>
          <p:nvPr>
            <p:ph type="sldNum" sz="quarter" idx="12"/>
          </p:nvPr>
        </p:nvSpPr>
        <p:spPr/>
        <p:txBody>
          <a:bodyPr/>
          <a:lstStyle/>
          <a:p>
            <a:fld id="{22BD14A0-459B-CA46-A763-3163F186A6C2}" type="slidenum">
              <a:rPr lang="en-US" smtClean="0"/>
              <a:t>9</a:t>
            </a:fld>
            <a:endParaRPr lang="en-US"/>
          </a:p>
        </p:txBody>
      </p:sp>
      <p:sp>
        <p:nvSpPr>
          <p:cNvPr id="6" name="Crowdsourcing" descr="{&quot;Key&quot;:&quot;POWER_USER_SHAPE_ICON&quot;,&quot;Value&quot;:&quot;POWER_USER_SHAPE_ICON_STYLE_1&quot;}">
            <a:extLst>
              <a:ext uri="{FF2B5EF4-FFF2-40B4-BE49-F238E27FC236}">
                <a16:creationId xmlns:a16="http://schemas.microsoft.com/office/drawing/2014/main" id="{9708A78C-B052-405F-ACBD-A1613D530E3A}"/>
              </a:ext>
            </a:extLst>
          </p:cNvPr>
          <p:cNvSpPr>
            <a:spLocks noChangeAspect="1" noEditPoints="1"/>
          </p:cNvSpPr>
          <p:nvPr>
            <p:custDataLst>
              <p:tags r:id="rId1"/>
            </p:custDataLst>
          </p:nvPr>
        </p:nvSpPr>
        <p:spPr bwMode="auto">
          <a:xfrm>
            <a:off x="3893786" y="970117"/>
            <a:ext cx="4907314" cy="4917766"/>
          </a:xfrm>
          <a:custGeom>
            <a:avLst/>
            <a:gdLst>
              <a:gd name="T0" fmla="*/ 1078 w 1250"/>
              <a:gd name="T1" fmla="*/ 608 h 1250"/>
              <a:gd name="T2" fmla="*/ 882 w 1250"/>
              <a:gd name="T3" fmla="*/ 392 h 1250"/>
              <a:gd name="T4" fmla="*/ 1007 w 1250"/>
              <a:gd name="T5" fmla="*/ 330 h 1250"/>
              <a:gd name="T6" fmla="*/ 1007 w 1250"/>
              <a:gd name="T7" fmla="*/ 156 h 1250"/>
              <a:gd name="T8" fmla="*/ 935 w 1250"/>
              <a:gd name="T9" fmla="*/ 291 h 1250"/>
              <a:gd name="T10" fmla="*/ 642 w 1250"/>
              <a:gd name="T11" fmla="*/ 279 h 1250"/>
              <a:gd name="T12" fmla="*/ 712 w 1250"/>
              <a:gd name="T13" fmla="*/ 87 h 1250"/>
              <a:gd name="T14" fmla="*/ 538 w 1250"/>
              <a:gd name="T15" fmla="*/ 87 h 1250"/>
              <a:gd name="T16" fmla="*/ 608 w 1250"/>
              <a:gd name="T17" fmla="*/ 279 h 1250"/>
              <a:gd name="T18" fmla="*/ 315 w 1250"/>
              <a:gd name="T19" fmla="*/ 291 h 1250"/>
              <a:gd name="T20" fmla="*/ 243 w 1250"/>
              <a:gd name="T21" fmla="*/ 156 h 1250"/>
              <a:gd name="T22" fmla="*/ 243 w 1250"/>
              <a:gd name="T23" fmla="*/ 330 h 1250"/>
              <a:gd name="T24" fmla="*/ 368 w 1250"/>
              <a:gd name="T25" fmla="*/ 392 h 1250"/>
              <a:gd name="T26" fmla="*/ 172 w 1250"/>
              <a:gd name="T27" fmla="*/ 608 h 1250"/>
              <a:gd name="T28" fmla="*/ 0 w 1250"/>
              <a:gd name="T29" fmla="*/ 625 h 1250"/>
              <a:gd name="T30" fmla="*/ 172 w 1250"/>
              <a:gd name="T31" fmla="*/ 642 h 1250"/>
              <a:gd name="T32" fmla="*/ 368 w 1250"/>
              <a:gd name="T33" fmla="*/ 858 h 1250"/>
              <a:gd name="T34" fmla="*/ 243 w 1250"/>
              <a:gd name="T35" fmla="*/ 920 h 1250"/>
              <a:gd name="T36" fmla="*/ 243 w 1250"/>
              <a:gd name="T37" fmla="*/ 1094 h 1250"/>
              <a:gd name="T38" fmla="*/ 315 w 1250"/>
              <a:gd name="T39" fmla="*/ 959 h 1250"/>
              <a:gd name="T40" fmla="*/ 608 w 1250"/>
              <a:gd name="T41" fmla="*/ 971 h 1250"/>
              <a:gd name="T42" fmla="*/ 538 w 1250"/>
              <a:gd name="T43" fmla="*/ 1163 h 1250"/>
              <a:gd name="T44" fmla="*/ 712 w 1250"/>
              <a:gd name="T45" fmla="*/ 1163 h 1250"/>
              <a:gd name="T46" fmla="*/ 642 w 1250"/>
              <a:gd name="T47" fmla="*/ 971 h 1250"/>
              <a:gd name="T48" fmla="*/ 935 w 1250"/>
              <a:gd name="T49" fmla="*/ 959 h 1250"/>
              <a:gd name="T50" fmla="*/ 1007 w 1250"/>
              <a:gd name="T51" fmla="*/ 1094 h 1250"/>
              <a:gd name="T52" fmla="*/ 1007 w 1250"/>
              <a:gd name="T53" fmla="*/ 920 h 1250"/>
              <a:gd name="T54" fmla="*/ 882 w 1250"/>
              <a:gd name="T55" fmla="*/ 858 h 1250"/>
              <a:gd name="T56" fmla="*/ 1078 w 1250"/>
              <a:gd name="T57" fmla="*/ 642 h 1250"/>
              <a:gd name="T58" fmla="*/ 1250 w 1250"/>
              <a:gd name="T59" fmla="*/ 625 h 1250"/>
              <a:gd name="T60" fmla="*/ 1007 w 1250"/>
              <a:gd name="T61" fmla="*/ 191 h 1250"/>
              <a:gd name="T62" fmla="*/ 1007 w 1250"/>
              <a:gd name="T63" fmla="*/ 295 h 1250"/>
              <a:gd name="T64" fmla="*/ 1007 w 1250"/>
              <a:gd name="T65" fmla="*/ 191 h 1250"/>
              <a:gd name="T66" fmla="*/ 191 w 1250"/>
              <a:gd name="T67" fmla="*/ 243 h 1250"/>
              <a:gd name="T68" fmla="*/ 295 w 1250"/>
              <a:gd name="T69" fmla="*/ 243 h 1250"/>
              <a:gd name="T70" fmla="*/ 87 w 1250"/>
              <a:gd name="T71" fmla="*/ 677 h 1250"/>
              <a:gd name="T72" fmla="*/ 87 w 1250"/>
              <a:gd name="T73" fmla="*/ 573 h 1250"/>
              <a:gd name="T74" fmla="*/ 87 w 1250"/>
              <a:gd name="T75" fmla="*/ 677 h 1250"/>
              <a:gd name="T76" fmla="*/ 191 w 1250"/>
              <a:gd name="T77" fmla="*/ 1007 h 1250"/>
              <a:gd name="T78" fmla="*/ 295 w 1250"/>
              <a:gd name="T79" fmla="*/ 1007 h 1250"/>
              <a:gd name="T80" fmla="*/ 573 w 1250"/>
              <a:gd name="T81" fmla="*/ 87 h 1250"/>
              <a:gd name="T82" fmla="*/ 677 w 1250"/>
              <a:gd name="T83" fmla="*/ 87 h 1250"/>
              <a:gd name="T84" fmla="*/ 573 w 1250"/>
              <a:gd name="T85" fmla="*/ 87 h 1250"/>
              <a:gd name="T86" fmla="*/ 625 w 1250"/>
              <a:gd name="T87" fmla="*/ 1215 h 1250"/>
              <a:gd name="T88" fmla="*/ 625 w 1250"/>
              <a:gd name="T89" fmla="*/ 1111 h 1250"/>
              <a:gd name="T90" fmla="*/ 660 w 1250"/>
              <a:gd name="T91" fmla="*/ 868 h 1250"/>
              <a:gd name="T92" fmla="*/ 590 w 1250"/>
              <a:gd name="T93" fmla="*/ 799 h 1250"/>
              <a:gd name="T94" fmla="*/ 660 w 1250"/>
              <a:gd name="T95" fmla="*/ 868 h 1250"/>
              <a:gd name="T96" fmla="*/ 660 w 1250"/>
              <a:gd name="T97" fmla="*/ 747 h 1250"/>
              <a:gd name="T98" fmla="*/ 668 w 1250"/>
              <a:gd name="T99" fmla="*/ 606 h 1250"/>
              <a:gd name="T100" fmla="*/ 625 w 1250"/>
              <a:gd name="T101" fmla="*/ 451 h 1250"/>
              <a:gd name="T102" fmla="*/ 469 w 1250"/>
              <a:gd name="T103" fmla="*/ 538 h 1250"/>
              <a:gd name="T104" fmla="*/ 781 w 1250"/>
              <a:gd name="T105" fmla="*/ 538 h 1250"/>
              <a:gd name="T106" fmla="*/ 1007 w 1250"/>
              <a:gd name="T107" fmla="*/ 955 h 1250"/>
              <a:gd name="T108" fmla="*/ 1007 w 1250"/>
              <a:gd name="T109" fmla="*/ 1059 h 1250"/>
              <a:gd name="T110" fmla="*/ 1007 w 1250"/>
              <a:gd name="T111" fmla="*/ 955 h 1250"/>
              <a:gd name="T112" fmla="*/ 1111 w 1250"/>
              <a:gd name="T113" fmla="*/ 625 h 1250"/>
              <a:gd name="T114" fmla="*/ 1215 w 1250"/>
              <a:gd name="T115" fmla="*/ 625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0" h="1250">
                <a:moveTo>
                  <a:pt x="1163" y="538"/>
                </a:moveTo>
                <a:cubicBezTo>
                  <a:pt x="1121" y="538"/>
                  <a:pt x="1086" y="568"/>
                  <a:pt x="1078" y="608"/>
                </a:cubicBezTo>
                <a:lnTo>
                  <a:pt x="971" y="608"/>
                </a:lnTo>
                <a:cubicBezTo>
                  <a:pt x="967" y="525"/>
                  <a:pt x="934" y="450"/>
                  <a:pt x="882" y="392"/>
                </a:cubicBezTo>
                <a:lnTo>
                  <a:pt x="959" y="315"/>
                </a:lnTo>
                <a:cubicBezTo>
                  <a:pt x="973" y="325"/>
                  <a:pt x="989" y="330"/>
                  <a:pt x="1007" y="330"/>
                </a:cubicBezTo>
                <a:cubicBezTo>
                  <a:pt x="1055" y="330"/>
                  <a:pt x="1094" y="291"/>
                  <a:pt x="1094" y="243"/>
                </a:cubicBezTo>
                <a:cubicBezTo>
                  <a:pt x="1094" y="195"/>
                  <a:pt x="1055" y="156"/>
                  <a:pt x="1007" y="156"/>
                </a:cubicBezTo>
                <a:cubicBezTo>
                  <a:pt x="959" y="156"/>
                  <a:pt x="920" y="195"/>
                  <a:pt x="920" y="243"/>
                </a:cubicBezTo>
                <a:cubicBezTo>
                  <a:pt x="920" y="261"/>
                  <a:pt x="926" y="277"/>
                  <a:pt x="935" y="291"/>
                </a:cubicBezTo>
                <a:lnTo>
                  <a:pt x="858" y="368"/>
                </a:lnTo>
                <a:cubicBezTo>
                  <a:pt x="800" y="316"/>
                  <a:pt x="725" y="283"/>
                  <a:pt x="642" y="279"/>
                </a:cubicBezTo>
                <a:lnTo>
                  <a:pt x="642" y="172"/>
                </a:lnTo>
                <a:cubicBezTo>
                  <a:pt x="682" y="164"/>
                  <a:pt x="712" y="129"/>
                  <a:pt x="712" y="87"/>
                </a:cubicBezTo>
                <a:cubicBezTo>
                  <a:pt x="712" y="39"/>
                  <a:pt x="673" y="0"/>
                  <a:pt x="625" y="0"/>
                </a:cubicBezTo>
                <a:cubicBezTo>
                  <a:pt x="577" y="0"/>
                  <a:pt x="538" y="39"/>
                  <a:pt x="538" y="87"/>
                </a:cubicBezTo>
                <a:cubicBezTo>
                  <a:pt x="538" y="129"/>
                  <a:pt x="568" y="164"/>
                  <a:pt x="608" y="172"/>
                </a:cubicBezTo>
                <a:lnTo>
                  <a:pt x="608" y="279"/>
                </a:lnTo>
                <a:cubicBezTo>
                  <a:pt x="525" y="283"/>
                  <a:pt x="450" y="316"/>
                  <a:pt x="392" y="368"/>
                </a:cubicBezTo>
                <a:lnTo>
                  <a:pt x="315" y="291"/>
                </a:lnTo>
                <a:cubicBezTo>
                  <a:pt x="325" y="277"/>
                  <a:pt x="330" y="261"/>
                  <a:pt x="330" y="243"/>
                </a:cubicBezTo>
                <a:cubicBezTo>
                  <a:pt x="330" y="195"/>
                  <a:pt x="291" y="156"/>
                  <a:pt x="243" y="156"/>
                </a:cubicBezTo>
                <a:cubicBezTo>
                  <a:pt x="195" y="156"/>
                  <a:pt x="156" y="195"/>
                  <a:pt x="156" y="243"/>
                </a:cubicBezTo>
                <a:cubicBezTo>
                  <a:pt x="156" y="291"/>
                  <a:pt x="195" y="330"/>
                  <a:pt x="243" y="330"/>
                </a:cubicBezTo>
                <a:cubicBezTo>
                  <a:pt x="261" y="330"/>
                  <a:pt x="277" y="324"/>
                  <a:pt x="291" y="315"/>
                </a:cubicBezTo>
                <a:lnTo>
                  <a:pt x="368" y="392"/>
                </a:lnTo>
                <a:cubicBezTo>
                  <a:pt x="316" y="450"/>
                  <a:pt x="283" y="525"/>
                  <a:pt x="279" y="608"/>
                </a:cubicBezTo>
                <a:lnTo>
                  <a:pt x="172" y="608"/>
                </a:lnTo>
                <a:cubicBezTo>
                  <a:pt x="164" y="568"/>
                  <a:pt x="129" y="538"/>
                  <a:pt x="87" y="538"/>
                </a:cubicBezTo>
                <a:cubicBezTo>
                  <a:pt x="39" y="538"/>
                  <a:pt x="0" y="577"/>
                  <a:pt x="0" y="625"/>
                </a:cubicBezTo>
                <a:cubicBezTo>
                  <a:pt x="0" y="673"/>
                  <a:pt x="39" y="712"/>
                  <a:pt x="87" y="712"/>
                </a:cubicBezTo>
                <a:cubicBezTo>
                  <a:pt x="129" y="712"/>
                  <a:pt x="164" y="682"/>
                  <a:pt x="172" y="642"/>
                </a:cubicBezTo>
                <a:lnTo>
                  <a:pt x="279" y="642"/>
                </a:lnTo>
                <a:cubicBezTo>
                  <a:pt x="283" y="725"/>
                  <a:pt x="316" y="800"/>
                  <a:pt x="368" y="858"/>
                </a:cubicBezTo>
                <a:lnTo>
                  <a:pt x="291" y="935"/>
                </a:lnTo>
                <a:cubicBezTo>
                  <a:pt x="277" y="925"/>
                  <a:pt x="261" y="920"/>
                  <a:pt x="243" y="920"/>
                </a:cubicBezTo>
                <a:cubicBezTo>
                  <a:pt x="195" y="920"/>
                  <a:pt x="156" y="959"/>
                  <a:pt x="156" y="1007"/>
                </a:cubicBezTo>
                <a:cubicBezTo>
                  <a:pt x="156" y="1055"/>
                  <a:pt x="195" y="1094"/>
                  <a:pt x="243" y="1094"/>
                </a:cubicBezTo>
                <a:cubicBezTo>
                  <a:pt x="291" y="1094"/>
                  <a:pt x="330" y="1055"/>
                  <a:pt x="330" y="1007"/>
                </a:cubicBezTo>
                <a:cubicBezTo>
                  <a:pt x="330" y="989"/>
                  <a:pt x="324" y="973"/>
                  <a:pt x="315" y="959"/>
                </a:cubicBezTo>
                <a:lnTo>
                  <a:pt x="392" y="882"/>
                </a:lnTo>
                <a:cubicBezTo>
                  <a:pt x="450" y="934"/>
                  <a:pt x="525" y="967"/>
                  <a:pt x="608" y="971"/>
                </a:cubicBezTo>
                <a:lnTo>
                  <a:pt x="608" y="1078"/>
                </a:lnTo>
                <a:cubicBezTo>
                  <a:pt x="568" y="1086"/>
                  <a:pt x="538" y="1121"/>
                  <a:pt x="538" y="1163"/>
                </a:cubicBezTo>
                <a:cubicBezTo>
                  <a:pt x="538" y="1211"/>
                  <a:pt x="577" y="1250"/>
                  <a:pt x="625" y="1250"/>
                </a:cubicBezTo>
                <a:cubicBezTo>
                  <a:pt x="673" y="1250"/>
                  <a:pt x="712" y="1211"/>
                  <a:pt x="712" y="1163"/>
                </a:cubicBezTo>
                <a:cubicBezTo>
                  <a:pt x="712" y="1121"/>
                  <a:pt x="682" y="1086"/>
                  <a:pt x="642" y="1078"/>
                </a:cubicBezTo>
                <a:lnTo>
                  <a:pt x="642" y="971"/>
                </a:lnTo>
                <a:cubicBezTo>
                  <a:pt x="725" y="967"/>
                  <a:pt x="800" y="934"/>
                  <a:pt x="858" y="882"/>
                </a:cubicBezTo>
                <a:lnTo>
                  <a:pt x="935" y="959"/>
                </a:lnTo>
                <a:cubicBezTo>
                  <a:pt x="925" y="973"/>
                  <a:pt x="920" y="989"/>
                  <a:pt x="920" y="1007"/>
                </a:cubicBezTo>
                <a:cubicBezTo>
                  <a:pt x="920" y="1055"/>
                  <a:pt x="959" y="1094"/>
                  <a:pt x="1007" y="1094"/>
                </a:cubicBezTo>
                <a:cubicBezTo>
                  <a:pt x="1055" y="1094"/>
                  <a:pt x="1094" y="1055"/>
                  <a:pt x="1094" y="1007"/>
                </a:cubicBezTo>
                <a:cubicBezTo>
                  <a:pt x="1094" y="959"/>
                  <a:pt x="1055" y="920"/>
                  <a:pt x="1007" y="920"/>
                </a:cubicBezTo>
                <a:cubicBezTo>
                  <a:pt x="989" y="920"/>
                  <a:pt x="973" y="926"/>
                  <a:pt x="959" y="935"/>
                </a:cubicBezTo>
                <a:lnTo>
                  <a:pt x="882" y="858"/>
                </a:lnTo>
                <a:cubicBezTo>
                  <a:pt x="934" y="800"/>
                  <a:pt x="967" y="725"/>
                  <a:pt x="971" y="642"/>
                </a:cubicBezTo>
                <a:lnTo>
                  <a:pt x="1078" y="642"/>
                </a:lnTo>
                <a:cubicBezTo>
                  <a:pt x="1086" y="682"/>
                  <a:pt x="1121" y="712"/>
                  <a:pt x="1163" y="712"/>
                </a:cubicBezTo>
                <a:cubicBezTo>
                  <a:pt x="1211" y="712"/>
                  <a:pt x="1250" y="673"/>
                  <a:pt x="1250" y="625"/>
                </a:cubicBezTo>
                <a:cubicBezTo>
                  <a:pt x="1250" y="577"/>
                  <a:pt x="1211" y="538"/>
                  <a:pt x="1163" y="538"/>
                </a:cubicBezTo>
                <a:close/>
                <a:moveTo>
                  <a:pt x="1007" y="191"/>
                </a:moveTo>
                <a:cubicBezTo>
                  <a:pt x="1036" y="191"/>
                  <a:pt x="1059" y="214"/>
                  <a:pt x="1059" y="243"/>
                </a:cubicBezTo>
                <a:cubicBezTo>
                  <a:pt x="1059" y="272"/>
                  <a:pt x="1036" y="295"/>
                  <a:pt x="1007" y="295"/>
                </a:cubicBezTo>
                <a:cubicBezTo>
                  <a:pt x="978" y="295"/>
                  <a:pt x="955" y="272"/>
                  <a:pt x="955" y="243"/>
                </a:cubicBezTo>
                <a:cubicBezTo>
                  <a:pt x="955" y="214"/>
                  <a:pt x="978" y="191"/>
                  <a:pt x="1007" y="191"/>
                </a:cubicBezTo>
                <a:close/>
                <a:moveTo>
                  <a:pt x="243" y="295"/>
                </a:moveTo>
                <a:cubicBezTo>
                  <a:pt x="214" y="295"/>
                  <a:pt x="191" y="272"/>
                  <a:pt x="191" y="243"/>
                </a:cubicBezTo>
                <a:cubicBezTo>
                  <a:pt x="191" y="214"/>
                  <a:pt x="214" y="191"/>
                  <a:pt x="243" y="191"/>
                </a:cubicBezTo>
                <a:cubicBezTo>
                  <a:pt x="272" y="191"/>
                  <a:pt x="295" y="214"/>
                  <a:pt x="295" y="243"/>
                </a:cubicBezTo>
                <a:cubicBezTo>
                  <a:pt x="295" y="272"/>
                  <a:pt x="272" y="295"/>
                  <a:pt x="243" y="295"/>
                </a:cubicBezTo>
                <a:close/>
                <a:moveTo>
                  <a:pt x="87" y="677"/>
                </a:moveTo>
                <a:cubicBezTo>
                  <a:pt x="58" y="677"/>
                  <a:pt x="35" y="654"/>
                  <a:pt x="35" y="625"/>
                </a:cubicBezTo>
                <a:cubicBezTo>
                  <a:pt x="35" y="596"/>
                  <a:pt x="58" y="573"/>
                  <a:pt x="87" y="573"/>
                </a:cubicBezTo>
                <a:cubicBezTo>
                  <a:pt x="116" y="573"/>
                  <a:pt x="139" y="596"/>
                  <a:pt x="139" y="625"/>
                </a:cubicBezTo>
                <a:cubicBezTo>
                  <a:pt x="139" y="654"/>
                  <a:pt x="116" y="677"/>
                  <a:pt x="87" y="677"/>
                </a:cubicBezTo>
                <a:close/>
                <a:moveTo>
                  <a:pt x="243" y="1059"/>
                </a:moveTo>
                <a:cubicBezTo>
                  <a:pt x="214" y="1059"/>
                  <a:pt x="191" y="1036"/>
                  <a:pt x="191" y="1007"/>
                </a:cubicBezTo>
                <a:cubicBezTo>
                  <a:pt x="191" y="978"/>
                  <a:pt x="214" y="955"/>
                  <a:pt x="243" y="955"/>
                </a:cubicBezTo>
                <a:cubicBezTo>
                  <a:pt x="272" y="955"/>
                  <a:pt x="295" y="978"/>
                  <a:pt x="295" y="1007"/>
                </a:cubicBezTo>
                <a:cubicBezTo>
                  <a:pt x="295" y="1036"/>
                  <a:pt x="272" y="1059"/>
                  <a:pt x="243" y="1059"/>
                </a:cubicBezTo>
                <a:close/>
                <a:moveTo>
                  <a:pt x="573" y="87"/>
                </a:moveTo>
                <a:cubicBezTo>
                  <a:pt x="573" y="58"/>
                  <a:pt x="596" y="35"/>
                  <a:pt x="625" y="35"/>
                </a:cubicBezTo>
                <a:cubicBezTo>
                  <a:pt x="654" y="35"/>
                  <a:pt x="677" y="58"/>
                  <a:pt x="677" y="87"/>
                </a:cubicBezTo>
                <a:cubicBezTo>
                  <a:pt x="677" y="116"/>
                  <a:pt x="654" y="139"/>
                  <a:pt x="625" y="139"/>
                </a:cubicBezTo>
                <a:cubicBezTo>
                  <a:pt x="596" y="139"/>
                  <a:pt x="573" y="116"/>
                  <a:pt x="573" y="87"/>
                </a:cubicBezTo>
                <a:close/>
                <a:moveTo>
                  <a:pt x="677" y="1163"/>
                </a:moveTo>
                <a:cubicBezTo>
                  <a:pt x="677" y="1192"/>
                  <a:pt x="654" y="1215"/>
                  <a:pt x="625" y="1215"/>
                </a:cubicBezTo>
                <a:cubicBezTo>
                  <a:pt x="596" y="1215"/>
                  <a:pt x="573" y="1192"/>
                  <a:pt x="573" y="1163"/>
                </a:cubicBezTo>
                <a:cubicBezTo>
                  <a:pt x="573" y="1134"/>
                  <a:pt x="596" y="1111"/>
                  <a:pt x="625" y="1111"/>
                </a:cubicBezTo>
                <a:cubicBezTo>
                  <a:pt x="654" y="1111"/>
                  <a:pt x="677" y="1134"/>
                  <a:pt x="677" y="1163"/>
                </a:cubicBezTo>
                <a:close/>
                <a:moveTo>
                  <a:pt x="660" y="868"/>
                </a:moveTo>
                <a:lnTo>
                  <a:pt x="590" y="868"/>
                </a:lnTo>
                <a:lnTo>
                  <a:pt x="590" y="799"/>
                </a:lnTo>
                <a:lnTo>
                  <a:pt x="660" y="799"/>
                </a:lnTo>
                <a:lnTo>
                  <a:pt x="660" y="868"/>
                </a:lnTo>
                <a:close/>
                <a:moveTo>
                  <a:pt x="711" y="660"/>
                </a:moveTo>
                <a:cubicBezTo>
                  <a:pt x="681" y="684"/>
                  <a:pt x="660" y="700"/>
                  <a:pt x="660" y="747"/>
                </a:cubicBezTo>
                <a:lnTo>
                  <a:pt x="590" y="747"/>
                </a:lnTo>
                <a:cubicBezTo>
                  <a:pt x="590" y="667"/>
                  <a:pt x="635" y="631"/>
                  <a:pt x="668" y="606"/>
                </a:cubicBezTo>
                <a:cubicBezTo>
                  <a:pt x="698" y="583"/>
                  <a:pt x="712" y="570"/>
                  <a:pt x="712" y="538"/>
                </a:cubicBezTo>
                <a:cubicBezTo>
                  <a:pt x="712" y="477"/>
                  <a:pt x="686" y="451"/>
                  <a:pt x="625" y="451"/>
                </a:cubicBezTo>
                <a:cubicBezTo>
                  <a:pt x="564" y="451"/>
                  <a:pt x="538" y="477"/>
                  <a:pt x="538" y="538"/>
                </a:cubicBezTo>
                <a:lnTo>
                  <a:pt x="469" y="538"/>
                </a:lnTo>
                <a:cubicBezTo>
                  <a:pt x="469" y="439"/>
                  <a:pt x="526" y="382"/>
                  <a:pt x="625" y="382"/>
                </a:cubicBezTo>
                <a:cubicBezTo>
                  <a:pt x="724" y="382"/>
                  <a:pt x="781" y="439"/>
                  <a:pt x="781" y="538"/>
                </a:cubicBezTo>
                <a:cubicBezTo>
                  <a:pt x="781" y="605"/>
                  <a:pt x="742" y="636"/>
                  <a:pt x="711" y="660"/>
                </a:cubicBezTo>
                <a:close/>
                <a:moveTo>
                  <a:pt x="1007" y="955"/>
                </a:moveTo>
                <a:cubicBezTo>
                  <a:pt x="1036" y="955"/>
                  <a:pt x="1059" y="978"/>
                  <a:pt x="1059" y="1007"/>
                </a:cubicBezTo>
                <a:cubicBezTo>
                  <a:pt x="1059" y="1036"/>
                  <a:pt x="1036" y="1059"/>
                  <a:pt x="1007" y="1059"/>
                </a:cubicBezTo>
                <a:cubicBezTo>
                  <a:pt x="978" y="1059"/>
                  <a:pt x="955" y="1036"/>
                  <a:pt x="955" y="1007"/>
                </a:cubicBezTo>
                <a:cubicBezTo>
                  <a:pt x="955" y="978"/>
                  <a:pt x="978" y="955"/>
                  <a:pt x="1007" y="955"/>
                </a:cubicBezTo>
                <a:close/>
                <a:moveTo>
                  <a:pt x="1163" y="677"/>
                </a:moveTo>
                <a:cubicBezTo>
                  <a:pt x="1134" y="677"/>
                  <a:pt x="1111" y="654"/>
                  <a:pt x="1111" y="625"/>
                </a:cubicBezTo>
                <a:cubicBezTo>
                  <a:pt x="1111" y="596"/>
                  <a:pt x="1134" y="573"/>
                  <a:pt x="1163" y="573"/>
                </a:cubicBezTo>
                <a:cubicBezTo>
                  <a:pt x="1192" y="573"/>
                  <a:pt x="1215" y="596"/>
                  <a:pt x="1215" y="625"/>
                </a:cubicBezTo>
                <a:cubicBezTo>
                  <a:pt x="1215" y="654"/>
                  <a:pt x="1192" y="677"/>
                  <a:pt x="1163" y="677"/>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95440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meeting*business*conference*human*meeting room*network*gathering*people*friends*greeting*discussion*talk"/>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community_POWER_USER_SEPARATOR_ICONS_crowd_POWER_USER_SEPARATOR_ICONS_group_POWER_USER_SEPARATOR_ICONS_internet_POWER_USER_SEPARATOR_ICONS_online_POWER_USER_SEPARATOR_ICONS_people_POWER_USER_SEPARATOR_ICONS_question_POWER_USER_SEPARATOR_ICONS_solution"/>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community_POWER_USER_SEPARATOR_ICONS_crowd_POWER_USER_SEPARATOR_ICONS_group_POWER_USER_SEPARATOR_ICONS_internet_POWER_USER_SEPARATOR_ICONS_online_POWER_USER_SEPARATOR_ICONS_people_POWER_USER_SEPARATOR_ICONS_question_POWER_USER_SEPARATOR_ICONS_solution"/>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community_POWER_USER_SEPARATOR_ICONS_crowd_POWER_USER_SEPARATOR_ICONS_group_POWER_USER_SEPARATOR_ICONS_internet_POWER_USER_SEPARATOR_ICONS_online_POWER_USER_SEPARATOR_ICONS_people_POWER_USER_SEPARATOR_ICONS_question_POWER_USER_SEPARATOR_ICONS_solution"/>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happy*happiness*dancing*joy*success*celebrating*congratulations*peopl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heme/theme1.xml><?xml version="1.0" encoding="utf-8"?>
<a:theme xmlns:a="http://schemas.openxmlformats.org/drawingml/2006/main" name="BSI Theme">
  <a:themeElements>
    <a:clrScheme name="BSI Master Theme">
      <a:dk1>
        <a:srgbClr val="000000"/>
      </a:dk1>
      <a:lt1>
        <a:srgbClr val="FFFFFF"/>
      </a:lt1>
      <a:dk2>
        <a:srgbClr val="9B9B9B"/>
      </a:dk2>
      <a:lt2>
        <a:srgbClr val="F8F7F6"/>
      </a:lt2>
      <a:accent1>
        <a:srgbClr val="FF2B1F"/>
      </a:accent1>
      <a:accent2>
        <a:srgbClr val="9E2B1F"/>
      </a:accent2>
      <a:accent3>
        <a:srgbClr val="FF8273"/>
      </a:accent3>
      <a:accent4>
        <a:srgbClr val="00A3AD"/>
      </a:accent4>
      <a:accent5>
        <a:srgbClr val="B3E3E6"/>
      </a:accent5>
      <a:accent6>
        <a:srgbClr val="E6F6F7"/>
      </a:accent6>
      <a:hlink>
        <a:srgbClr val="D72D18"/>
      </a:hlink>
      <a:folHlink>
        <a:srgbClr val="D72D18"/>
      </a:folHlink>
    </a:clrScheme>
    <a:fontScheme name="Tahoma">
      <a:majorFont>
        <a:latin typeface="Tahoma"/>
        <a:ea typeface=""/>
        <a:cs typeface=""/>
      </a:majorFont>
      <a:minorFont>
        <a:latin typeface="Tahom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SI" id="{CEC7D216-0E0C-6E45-A57E-87092382A8D7}" vid="{AD9E348C-6840-A24A-8EB6-4D89E9AFA559}"/>
    </a:ext>
  </a:extLst>
</a:theme>
</file>

<file path=ppt/theme/theme2.xml><?xml version="1.0" encoding="utf-8"?>
<a:theme xmlns:a="http://schemas.openxmlformats.org/drawingml/2006/main" name="BSI 16x9 template 2017">
  <a:themeElements>
    <a:clrScheme name="BSI">
      <a:dk1>
        <a:srgbClr val="000000"/>
      </a:dk1>
      <a:lt1>
        <a:srgbClr val="FFFFFF"/>
      </a:lt1>
      <a:dk2>
        <a:srgbClr val="FF2B1F"/>
      </a:dk2>
      <a:lt2>
        <a:srgbClr val="FFFFFF"/>
      </a:lt2>
      <a:accent1>
        <a:srgbClr val="FF2B1F"/>
      </a:accent1>
      <a:accent2>
        <a:srgbClr val="007D8A"/>
      </a:accent2>
      <a:accent3>
        <a:srgbClr val="00A3AD"/>
      </a:accent3>
      <a:accent4>
        <a:srgbClr val="6F6F6F"/>
      </a:accent4>
      <a:accent5>
        <a:srgbClr val="9B9B9B"/>
      </a:accent5>
      <a:accent6>
        <a:srgbClr val="E6F6F7"/>
      </a:accent6>
      <a:hlink>
        <a:srgbClr val="000000"/>
      </a:hlink>
      <a:folHlink>
        <a:srgbClr val="000000"/>
      </a:folHlink>
    </a:clrScheme>
    <a:fontScheme name="BSI">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sz="1600" dirty="0" err="1" smtClean="0"/>
        </a:defPPr>
      </a:lstStyle>
    </a:txDef>
  </a:objectDefaults>
  <a:extraClrSchemeLst/>
  <a:extLst>
    <a:ext uri="{05A4C25C-085E-4340-85A3-A5531E510DB2}">
      <thm15:themeFamily xmlns:thm15="http://schemas.microsoft.com/office/thememl/2012/main" name="BSI Presentation - 30 January 2017 NEW TEMPLATE" id="{F51E5216-B1BD-4721-BD94-674269EF0C33}" vid="{CDC545ED-9381-4462-ADA4-0330BF6E5E8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F105E92FA82974AACA9A01E1775E577" ma:contentTypeVersion="4" ma:contentTypeDescription="Create a new document." ma:contentTypeScope="" ma:versionID="ea9db9ce25e5d9397053a44e525bfa53">
  <xsd:schema xmlns:xsd="http://www.w3.org/2001/XMLSchema" xmlns:xs="http://www.w3.org/2001/XMLSchema" xmlns:p="http://schemas.microsoft.com/office/2006/metadata/properties" xmlns:ns2="d1eb0de5-a43b-4881-b96d-6204301b966f" targetNamespace="http://schemas.microsoft.com/office/2006/metadata/properties" ma:root="true" ma:fieldsID="7666795ee98c9d9538490670b90958b0" ns2:_="">
    <xsd:import namespace="d1eb0de5-a43b-4881-b96d-6204301b966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eb0de5-a43b-4881-b96d-6204301b966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34D7CDA-80E0-4232-AEFC-9F59A05938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1eb0de5-a43b-4881-b96d-6204301b966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DBF44D7-99F0-4430-88E6-5396D249A46C}">
  <ds:schemaRefs>
    <ds:schemaRef ds:uri="http://schemas.microsoft.com/sharepoint/v3/contenttype/forms"/>
  </ds:schemaRefs>
</ds:datastoreItem>
</file>

<file path=customXml/itemProps3.xml><?xml version="1.0" encoding="utf-8"?>
<ds:datastoreItem xmlns:ds="http://schemas.openxmlformats.org/officeDocument/2006/customXml" ds:itemID="{F1FCF7EE-E632-4EEF-9015-26183053EAAC}">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d1eb0de5-a43b-4881-b96d-6204301b966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1381</TotalTime>
  <Words>1596</Words>
  <Application>Microsoft Office PowerPoint</Application>
  <PresentationFormat>Widescreen</PresentationFormat>
  <Paragraphs>372</Paragraphs>
  <Slides>47</Slides>
  <Notes>10</Notes>
  <HiddenSlides>0</HiddenSlides>
  <MMClips>1</MMClips>
  <ScaleCrop>false</ScaleCrop>
  <HeadingPairs>
    <vt:vector size="6" baseType="variant">
      <vt:variant>
        <vt:lpstr>Fonts Used</vt:lpstr>
      </vt:variant>
      <vt:variant>
        <vt:i4>3</vt:i4>
      </vt:variant>
      <vt:variant>
        <vt:lpstr>Theme</vt:lpstr>
      </vt:variant>
      <vt:variant>
        <vt:i4>2</vt:i4>
      </vt:variant>
      <vt:variant>
        <vt:lpstr>Slide Titles</vt:lpstr>
      </vt:variant>
      <vt:variant>
        <vt:i4>47</vt:i4>
      </vt:variant>
    </vt:vector>
  </HeadingPairs>
  <TitlesOfParts>
    <vt:vector size="52" baseType="lpstr">
      <vt:lpstr>Arial</vt:lpstr>
      <vt:lpstr>Calibri</vt:lpstr>
      <vt:lpstr>Tahoma</vt:lpstr>
      <vt:lpstr>BSI Theme</vt:lpstr>
      <vt:lpstr>BSI 16x9 template 2017</vt:lpstr>
      <vt:lpstr>MON 9202 Ulaanbaatar Community Food Waste Recycling: Package CS1 – Consultancy Services МОН 9202 Улаанбаатар хотын хүнсний хаягдлыг  дахин боловсруулах төсөл: Багц CS 1 - Зөвлөх Үйлчилгээ  </vt:lpstr>
      <vt:lpstr>ТАНД ӨДРИЙН МЭНД ХҮРГЭЕ!</vt:lpstr>
      <vt:lpstr>УУЛЗАЛТЫН ЭХЛЭХЭЭС ӨМНӨ АНХААРАХ ЗҮЙЛС</vt:lpstr>
      <vt:lpstr>ТӨСЛИЙН ТУХАЙ</vt:lpstr>
      <vt:lpstr>ТӨСЛИЙН ҮЙЛ АЖИЛЛАГАА</vt:lpstr>
      <vt:lpstr>ӨНӨӨДРИЙН УУЛЗАЛ, СЕМИНАР НЬ:</vt:lpstr>
      <vt:lpstr>ХӨТӨЛБӨР</vt:lpstr>
      <vt:lpstr>ЗӨВЛӨХ БАГ</vt:lpstr>
      <vt:lpstr>АСУУЛТ?</vt:lpstr>
      <vt:lpstr>ХҮНСНИЙ ХАЯГДАЛ ГЭЖ ЮУ ВЭ? ХҮНСНИЙ ХАЯГДЛЫН АСУУДАЛ ЯАГААД ЧУХАЛ ГЭЖ?</vt:lpstr>
      <vt:lpstr>ХҮНСНИЙ ХАЯГДЛЫН ТӨРӨЛ</vt:lpstr>
      <vt:lpstr>ХҮНСНИЙ ХАЯГДЛЫН ТӨРӨЛ</vt:lpstr>
      <vt:lpstr>ХҮНСНИЙ ХАЯГДЛЫН ОНЦЛОГ</vt:lpstr>
      <vt:lpstr>ХҮНСНИЙ ХАЯГДАЛ!</vt:lpstr>
      <vt:lpstr>ХҮНСНИЙ ХАЯГДАЛТАЙ ХОЛБООТОЙ АСУУДЛУУД</vt:lpstr>
      <vt:lpstr>УЛААНБААТАР ХОТЫН НАРАНГИЙН ЭНГЭР ДАХЬ ТӨВЛӨРСӨН ХОГИЙН ЦЭГ</vt:lpstr>
      <vt:lpstr>ХҮНСНИЙ ХАЯГДАЛ БОЛОН УУР АМЬСГАЛЫН ӨӨРЧЛӨЛТ</vt:lpstr>
      <vt:lpstr>ХҮНСНИЙ ХАЯГДЛЫГ ТӨВЛӨРСӨН ЦЭГТ ХАЯХААС ЗАЙЛСХИЙХ НЬ</vt:lpstr>
      <vt:lpstr>АСУУЛТ БАЙНА УУ?</vt:lpstr>
      <vt:lpstr>УЛААНБААТАР ХОТЫН ХҮНСНИЙ ХАЯГДЛЫН СУДАЛГАА</vt:lpstr>
      <vt:lpstr>ХҮНСНИЙ ХАЯГДЛЫН БҮТЦИЙН СУДАЛГАА</vt:lpstr>
      <vt:lpstr>БҮТЦИЙН СУДАЛГАА - ӨРХ</vt:lpstr>
      <vt:lpstr>ӨРХИЙН ХҮНСНИЙ ХАЯГДАЛ - ХЭМЖЭЭ</vt:lpstr>
      <vt:lpstr>ӨРХИЙН ХҮНСНИЙ ХАЯГДАЛ - ТӨРЛҮҮД</vt:lpstr>
      <vt:lpstr>ӨРХИЙН ХҮНСНИЙ ХАЯГДАЛ – ӨРХИЙН ОРЛОГО</vt:lpstr>
      <vt:lpstr>ӨРХИЙН ХҮНСНИЙ ХАЯГДАЛ – УЛИРЛЫН ЯЛГААТАЙ БАЙДАЛ</vt:lpstr>
      <vt:lpstr>БҮТЦИЙН СУДАЛГАА – ХҮНСНИЙ ҮЙЛЧИЛГЭЭНИЙ БАЙГУУЛЛАГУУД</vt:lpstr>
      <vt:lpstr>ХҮНСНИЙ ҮЙЛДВЭРЛЭЛ, ҮЙЛЧИЛГЭЭНИЙ БАЙГУУЛЛАГУУД</vt:lpstr>
      <vt:lpstr>ХҮНСНИЙ ҮЙЛДВЭРЛЭЛ, ҮЙЛЧИЛГЭЭНИЙ БАЙГУУЛЛАГУУД – ӨДӨРТ ХАЯГДАХ ХҮНСНИЙ ХАЯГДАЛ</vt:lpstr>
      <vt:lpstr>ХҮНСНИЙ ҮЙЛДВЭРЛЭЛ, ҮЙЛЧИЛГЭЭНИЙ БАЙГУУЛЛАГУУД – НЭГЖ ҮЙЛЧЛҮҮЛЭГЧИД НОГДОХ ХАЯГДЛЫН ХЭМЖЭЭ</vt:lpstr>
      <vt:lpstr>ЖИЖИГЛЭН ХУДАЛДААЛАН САЛБАР – ХҮНСНИЙ НОГООНЫ ЛАНГУУНУУД</vt:lpstr>
      <vt:lpstr>НЭГ ЖИЛД ХАЯГДАХ ХҮНСНИЙ ХАЯГДАЛ?</vt:lpstr>
      <vt:lpstr>НЭМЭЛТ СУДАЛГАА</vt:lpstr>
      <vt:lpstr>ХҮНСНИЙ ХАЯГДЛЫГ ДАХИН БОЛОВСРУУЛАХ ТАЛААР ХАНДЛАГА</vt:lpstr>
      <vt:lpstr>ХҮМҮҮС ЯАГААД ХОГОО АНГИЛДАГГҮЙ ВЭ</vt:lpstr>
      <vt:lpstr>ХҮНСНИЙ ХАЯГДЛАА ДАХИН БОЛОВСРУУЛАХАД ДЭМЖЛЭГ БОЛОХ ЗҮЙЛ</vt:lpstr>
      <vt:lpstr>ХҮНС, ХҮНСНИЙ ХАЯГДАЛ</vt:lpstr>
      <vt:lpstr>ГОЛ ХҮРГЭХ МЕССЕЖ?</vt:lpstr>
      <vt:lpstr>ГОЛ ХҮРГЭХ МЕССЕЖ?</vt:lpstr>
      <vt:lpstr>ЦАЙНЫ ЗАВСАРЛАГАА</vt:lpstr>
      <vt:lpstr>ДҮГНЭЛТ</vt:lpstr>
      <vt:lpstr>СУДАЛГААНЫ МЭДЭЭЛЛИЙГ ХЭРХЭН АШИГЛАХ ВЭ?</vt:lpstr>
      <vt:lpstr>УЛААНБААТАР ХОТЫН ХҮНСНИЙ ХАЯГДЛЫГ ДАХИН БОЛОВСРУУЛАХ ТӨСӨЛ НЬ ТӨВЛӨРСӨН ХОГНЫ ЦЭГЭЭС ЯЛГАРАХ МЕТАНЫ ХИЙГ БАГАСГАНА </vt:lpstr>
      <vt:lpstr>ТОМ ТҮВШИНД КОМПОСТ БОЛОВСРУУЛАХ ТУРШИЛТ НЭГ ТЭРБУМ МОД ТАРИХ ХӨТӨЛБӨР</vt:lpstr>
      <vt:lpstr>БИДНИЙ АЛСЫН ХАРАА – УЛААНБААТАР ХОТЫН ТОГТВОРТОЙ ХӨГЖИЛ</vt:lpstr>
      <vt:lpstr>АСУУЛТ?</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Lovelock</dc:creator>
  <cp:lastModifiedBy>Tuvshintur Jargalsaikhan</cp:lastModifiedBy>
  <cp:revision>343</cp:revision>
  <cp:lastPrinted>2020-09-09T03:52:33Z</cp:lastPrinted>
  <dcterms:created xsi:type="dcterms:W3CDTF">2019-12-02T19:25:59Z</dcterms:created>
  <dcterms:modified xsi:type="dcterms:W3CDTF">2024-02-20T05:5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1ff2a908-ba7a-4fb8-bec8-3d692cde8cc6</vt:lpwstr>
  </property>
  <property fmtid="{D5CDD505-2E9C-101B-9397-08002B2CF9AE}" pid="3" name="ContentTypeId">
    <vt:lpwstr>0x0101005F105E92FA82974AACA9A01E1775E577</vt:lpwstr>
  </property>
  <property fmtid="{D5CDD505-2E9C-101B-9397-08002B2CF9AE}" pid="4" name="MSIP_Label_56b9d25c-4f6e-4c3e-8bec-80708a1e66b4_Enabled">
    <vt:lpwstr>true</vt:lpwstr>
  </property>
  <property fmtid="{D5CDD505-2E9C-101B-9397-08002B2CF9AE}" pid="5" name="MSIP_Label_56b9d25c-4f6e-4c3e-8bec-80708a1e66b4_SetDate">
    <vt:lpwstr>2022-10-27T17:28:14Z</vt:lpwstr>
  </property>
  <property fmtid="{D5CDD505-2E9C-101B-9397-08002B2CF9AE}" pid="6" name="MSIP_Label_56b9d25c-4f6e-4c3e-8bec-80708a1e66b4_Method">
    <vt:lpwstr>Privileged</vt:lpwstr>
  </property>
  <property fmtid="{D5CDD505-2E9C-101B-9397-08002B2CF9AE}" pid="7" name="MSIP_Label_56b9d25c-4f6e-4c3e-8bec-80708a1e66b4_Name">
    <vt:lpwstr>Internal - Un-Marked</vt:lpwstr>
  </property>
  <property fmtid="{D5CDD505-2E9C-101B-9397-08002B2CF9AE}" pid="8" name="MSIP_Label_56b9d25c-4f6e-4c3e-8bec-80708a1e66b4_SiteId">
    <vt:lpwstr>54946ffc-68d3-4955-ac70-dca726d445b4</vt:lpwstr>
  </property>
  <property fmtid="{D5CDD505-2E9C-101B-9397-08002B2CF9AE}" pid="9" name="MSIP_Label_56b9d25c-4f6e-4c3e-8bec-80708a1e66b4_ActionId">
    <vt:lpwstr>3be1c395-5477-489b-b11c-ad67d0e7b32d</vt:lpwstr>
  </property>
  <property fmtid="{D5CDD505-2E9C-101B-9397-08002B2CF9AE}" pid="10" name="MSIP_Label_56b9d25c-4f6e-4c3e-8bec-80708a1e66b4_ContentBits">
    <vt:lpwstr>0</vt:lpwstr>
  </property>
</Properties>
</file>